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4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5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charts/chart6.xml" ContentType="application/vnd.openxmlformats-officedocument.drawingml.chart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charts/chart7.xml" ContentType="application/vnd.openxmlformats-officedocument.drawingml.chart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charts/chart8.xml" ContentType="application/vnd.openxmlformats-officedocument.drawingml.chart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326" r:id="rId2"/>
    <p:sldId id="328" r:id="rId3"/>
    <p:sldId id="330" r:id="rId4"/>
    <p:sldId id="331" r:id="rId5"/>
    <p:sldId id="336" r:id="rId6"/>
    <p:sldId id="337" r:id="rId7"/>
    <p:sldId id="329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70" userDrawn="1">
          <p15:clr>
            <a:srgbClr val="A4A3A4"/>
          </p15:clr>
        </p15:guide>
        <p15:guide id="4" orient="horz" pos="845" userDrawn="1">
          <p15:clr>
            <a:srgbClr val="A4A3A4"/>
          </p15:clr>
        </p15:guide>
        <p15:guide id="5" orient="horz" pos="323" userDrawn="1">
          <p15:clr>
            <a:srgbClr val="A4A3A4"/>
          </p15:clr>
        </p15:guide>
        <p15:guide id="8" pos="1186" userDrawn="1">
          <p15:clr>
            <a:srgbClr val="A4A3A4"/>
          </p15:clr>
        </p15:guide>
        <p15:guide id="9" orient="horz" pos="3952" userDrawn="1">
          <p15:clr>
            <a:srgbClr val="A4A3A4"/>
          </p15:clr>
        </p15:guide>
        <p15:guide id="10" pos="1255" userDrawn="1">
          <p15:clr>
            <a:srgbClr val="A4A3A4"/>
          </p15:clr>
        </p15:guide>
        <p15:guide id="11" pos="2048" userDrawn="1">
          <p15:clr>
            <a:srgbClr val="A4A3A4"/>
          </p15:clr>
        </p15:guide>
        <p15:guide id="13" pos="2116" userDrawn="1">
          <p15:clr>
            <a:srgbClr val="A4A3A4"/>
          </p15:clr>
        </p15:guide>
        <p15:guide id="14" pos="3001" userDrawn="1">
          <p15:clr>
            <a:srgbClr val="A4A3A4"/>
          </p15:clr>
        </p15:guide>
        <p15:guide id="15" pos="3795" userDrawn="1">
          <p15:clr>
            <a:srgbClr val="A4A3A4"/>
          </p15:clr>
        </p15:guide>
        <p15:guide id="16" pos="3863" userDrawn="1">
          <p15:clr>
            <a:srgbClr val="A4A3A4"/>
          </p15:clr>
        </p15:guide>
        <p15:guide id="17" pos="4679" userDrawn="1">
          <p15:clr>
            <a:srgbClr val="A4A3A4"/>
          </p15:clr>
        </p15:guide>
        <p15:guide id="18" pos="4747" userDrawn="1">
          <p15:clr>
            <a:srgbClr val="A4A3A4"/>
          </p15:clr>
        </p15:guide>
        <p15:guide id="19" pos="2933" userDrawn="1">
          <p15:clr>
            <a:srgbClr val="A4A3A4"/>
          </p15:clr>
        </p15:guide>
        <p15:guide id="20" pos="5541" userDrawn="1">
          <p15:clr>
            <a:srgbClr val="A4A3A4"/>
          </p15:clr>
        </p15:guide>
        <p15:guide id="21" pos="5609" userDrawn="1">
          <p15:clr>
            <a:srgbClr val="A4A3A4"/>
          </p15:clr>
        </p15:guide>
        <p15:guide id="22" pos="6425" userDrawn="1">
          <p15:clr>
            <a:srgbClr val="A4A3A4"/>
          </p15:clr>
        </p15:guide>
        <p15:guide id="23" pos="6494" userDrawn="1">
          <p15:clr>
            <a:srgbClr val="A4A3A4"/>
          </p15:clr>
        </p15:guide>
        <p15:guide id="24" pos="7310" userDrawn="1">
          <p15:clr>
            <a:srgbClr val="A4A3A4"/>
          </p15:clr>
        </p15:guide>
        <p15:guide id="25" orient="horz" pos="1275" userDrawn="1">
          <p15:clr>
            <a:srgbClr val="A4A3A4"/>
          </p15:clr>
        </p15:guide>
        <p15:guide id="26" orient="horz" pos="2001" userDrawn="1">
          <p15:clr>
            <a:srgbClr val="A4A3A4"/>
          </p15:clr>
        </p15:guide>
        <p15:guide id="27" orient="horz" pos="2160" userDrawn="1">
          <p15:clr>
            <a:srgbClr val="A4A3A4"/>
          </p15:clr>
        </p15:guide>
        <p15:guide id="28" orient="horz" pos="349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1919"/>
    <a:srgbClr val="003C64"/>
    <a:srgbClr val="EDEDED"/>
    <a:srgbClr val="009E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D3B7E7-7389-41BA-86C7-383DD176F20A}" v="84" dt="2024-04-04T21:22:34.3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13" autoAdjust="0"/>
    <p:restoredTop sz="94648"/>
  </p:normalViewPr>
  <p:slideViewPr>
    <p:cSldViewPr snapToGrid="0" snapToObjects="1" showGuides="1">
      <p:cViewPr varScale="1">
        <p:scale>
          <a:sx n="117" d="100"/>
          <a:sy n="117" d="100"/>
        </p:scale>
        <p:origin x="536" y="168"/>
      </p:cViewPr>
      <p:guideLst>
        <p:guide pos="370"/>
        <p:guide orient="horz" pos="845"/>
        <p:guide orient="horz" pos="323"/>
        <p:guide pos="1186"/>
        <p:guide orient="horz" pos="3952"/>
        <p:guide pos="1255"/>
        <p:guide pos="2048"/>
        <p:guide pos="2116"/>
        <p:guide pos="3001"/>
        <p:guide pos="3795"/>
        <p:guide pos="3863"/>
        <p:guide pos="4679"/>
        <p:guide pos="4747"/>
        <p:guide pos="2933"/>
        <p:guide pos="5541"/>
        <p:guide pos="5609"/>
        <p:guide pos="6425"/>
        <p:guide pos="6494"/>
        <p:guide pos="7310"/>
        <p:guide orient="horz" pos="1275"/>
        <p:guide orient="horz" pos="2001"/>
        <p:guide orient="horz" pos="2160"/>
        <p:guide orient="horz" pos="3498"/>
      </p:guideLst>
    </p:cSldViewPr>
  </p:slideViewPr>
  <p:notesTextViewPr>
    <p:cViewPr>
      <p:scale>
        <a:sx n="40" d="100"/>
        <a:sy n="4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ego Alejandro Vega" userId="0089d167-8aac-4863-a02e-66ae858edfab" providerId="ADAL" clId="{BDD3B7E7-7389-41BA-86C7-383DD176F20A}"/>
    <pc:docChg chg="custSel modSld">
      <pc:chgData name="Diego Alejandro Vega" userId="0089d167-8aac-4863-a02e-66ae858edfab" providerId="ADAL" clId="{BDD3B7E7-7389-41BA-86C7-383DD176F20A}" dt="2024-04-04T21:26:35.857" v="136" actId="20577"/>
      <pc:docMkLst>
        <pc:docMk/>
      </pc:docMkLst>
      <pc:sldChg chg="modSp mod modAnim">
        <pc:chgData name="Diego Alejandro Vega" userId="0089d167-8aac-4863-a02e-66ae858edfab" providerId="ADAL" clId="{BDD3B7E7-7389-41BA-86C7-383DD176F20A}" dt="2024-04-04T21:22:34.391" v="94" actId="20577"/>
        <pc:sldMkLst>
          <pc:docMk/>
          <pc:sldMk cId="3300516046" sldId="328"/>
        </pc:sldMkLst>
        <pc:spChg chg="mod">
          <ac:chgData name="Diego Alejandro Vega" userId="0089d167-8aac-4863-a02e-66ae858edfab" providerId="ADAL" clId="{BDD3B7E7-7389-41BA-86C7-383DD176F20A}" dt="2024-04-04T21:22:34.391" v="94" actId="20577"/>
          <ac:spMkLst>
            <pc:docMk/>
            <pc:sldMk cId="3300516046" sldId="328"/>
            <ac:spMk id="3" creationId="{3FFAA70A-C838-2D00-FCED-4E8CDBDF5197}"/>
          </ac:spMkLst>
        </pc:spChg>
      </pc:sldChg>
      <pc:sldChg chg="modSp mod">
        <pc:chgData name="Diego Alejandro Vega" userId="0089d167-8aac-4863-a02e-66ae858edfab" providerId="ADAL" clId="{BDD3B7E7-7389-41BA-86C7-383DD176F20A}" dt="2024-04-04T21:26:35.857" v="136" actId="20577"/>
        <pc:sldMkLst>
          <pc:docMk/>
          <pc:sldMk cId="3789924220" sldId="329"/>
        </pc:sldMkLst>
        <pc:spChg chg="mod">
          <ac:chgData name="Diego Alejandro Vega" userId="0089d167-8aac-4863-a02e-66ae858edfab" providerId="ADAL" clId="{BDD3B7E7-7389-41BA-86C7-383DD176F20A}" dt="2024-04-04T21:26:35.857" v="136" actId="20577"/>
          <ac:spMkLst>
            <pc:docMk/>
            <pc:sldMk cId="3789924220" sldId="329"/>
            <ac:spMk id="6" creationId="{45E2676A-1CE0-5DC1-3D5C-D843B8726B17}"/>
          </ac:spMkLst>
        </pc:spChg>
      </pc:sldChg>
      <pc:sldChg chg="modSp mod">
        <pc:chgData name="Diego Alejandro Vega" userId="0089d167-8aac-4863-a02e-66ae858edfab" providerId="ADAL" clId="{BDD3B7E7-7389-41BA-86C7-383DD176F20A}" dt="2024-04-04T21:23:47.252" v="95" actId="20577"/>
        <pc:sldMkLst>
          <pc:docMk/>
          <pc:sldMk cId="2556107877" sldId="336"/>
        </pc:sldMkLst>
        <pc:spChg chg="mod">
          <ac:chgData name="Diego Alejandro Vega" userId="0089d167-8aac-4863-a02e-66ae858edfab" providerId="ADAL" clId="{BDD3B7E7-7389-41BA-86C7-383DD176F20A}" dt="2024-04-04T21:23:47.252" v="95" actId="20577"/>
          <ac:spMkLst>
            <pc:docMk/>
            <pc:sldMk cId="2556107877" sldId="336"/>
            <ac:spMk id="2" creationId="{B4052E67-E147-0EF2-C5FF-4649A7710C5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</c:spPr>
          <c:dPt>
            <c:idx val="0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9B3-044C-9421-3F225CC82428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9B3-044C-9421-3F225CC82428}"/>
              </c:ext>
            </c:extLst>
          </c:dPt>
          <c:dPt>
            <c:idx val="2"/>
            <c:bubble3D val="0"/>
            <c:spPr>
              <a:solidFill>
                <a:srgbClr val="EDEDE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9B3-044C-9421-3F225CC82428}"/>
              </c:ext>
            </c:extLst>
          </c:dPt>
          <c:dPt>
            <c:idx val="3"/>
            <c:bubble3D val="0"/>
            <c:spPr>
              <a:solidFill>
                <a:srgbClr val="009E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9B3-044C-9421-3F225CC82428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9B3-044C-9421-3F225CC824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13020941322827E-2"/>
          <c:y val="5.9714045416316232E-2"/>
          <c:w val="0.89280530789964752"/>
          <c:h val="0.879730866274179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9EEB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0</c:v>
                </c:pt>
                <c:pt idx="1">
                  <c:v>50</c:v>
                </c:pt>
                <c:pt idx="2">
                  <c:v>80</c:v>
                </c:pt>
                <c:pt idx="3">
                  <c:v>240</c:v>
                </c:pt>
                <c:pt idx="4">
                  <c:v>370</c:v>
                </c:pt>
                <c:pt idx="5">
                  <c:v>690</c:v>
                </c:pt>
                <c:pt idx="6">
                  <c:v>1180</c:v>
                </c:pt>
                <c:pt idx="7">
                  <c:v>2030</c:v>
                </c:pt>
                <c:pt idx="8">
                  <c:v>2530</c:v>
                </c:pt>
                <c:pt idx="9">
                  <c:v>3080</c:v>
                </c:pt>
                <c:pt idx="10">
                  <c:v>3780</c:v>
                </c:pt>
                <c:pt idx="11">
                  <c:v>4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B4-43F3-BF7D-7ED38FE4612E}"/>
            </c:ext>
          </c:extLst>
        </c:ser>
        <c:ser>
          <c:idx val="1"/>
          <c:order val="1"/>
          <c:spPr>
            <a:solidFill>
              <a:srgbClr val="003C64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6.223717409587888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B4-43F3-BF7D-7ED38FE4612E}"/>
                </c:ext>
              </c:extLst>
            </c:dLbl>
            <c:dLbl>
              <c:idx val="2"/>
              <c:layout>
                <c:manualLayout>
                  <c:x val="0"/>
                  <c:y val="-6.223717409587888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B4-43F3-BF7D-7ED38FE4612E}"/>
                </c:ext>
              </c:extLst>
            </c:dLbl>
            <c:dLbl>
              <c:idx val="3"/>
              <c:layout>
                <c:manualLayout>
                  <c:x val="0"/>
                  <c:y val="-6.3919259882253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B4-43F3-BF7D-7ED38FE4612E}"/>
                </c:ext>
              </c:extLst>
            </c:dLbl>
            <c:dLbl>
              <c:idx val="4"/>
              <c:layout>
                <c:manualLayout>
                  <c:x val="0"/>
                  <c:y val="-6.64423885618166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B4-43F3-BF7D-7ED38FE4612E}"/>
                </c:ext>
              </c:extLst>
            </c:dLbl>
            <c:dLbl>
              <c:idx val="5"/>
              <c:layout>
                <c:manualLayout>
                  <c:x val="0"/>
                  <c:y val="-7.064760302775441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B4-43F3-BF7D-7ED38FE4612E}"/>
                </c:ext>
              </c:extLst>
            </c:dLbl>
            <c:dLbl>
              <c:idx val="6"/>
              <c:layout>
                <c:manualLayout>
                  <c:x val="0"/>
                  <c:y val="-7.65349032800672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B4-43F3-BF7D-7ED38FE4612E}"/>
                </c:ext>
              </c:extLst>
            </c:dLbl>
            <c:dLbl>
              <c:idx val="7"/>
              <c:layout>
                <c:manualLayout>
                  <c:x val="0"/>
                  <c:y val="-8.662741799831791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6B4-43F3-BF7D-7ED38FE4612E}"/>
                </c:ext>
              </c:extLst>
            </c:dLbl>
            <c:dLbl>
              <c:idx val="8"/>
              <c:layout>
                <c:manualLayout>
                  <c:x val="0"/>
                  <c:y val="-9.503784693019344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6B4-43F3-BF7D-7ED38FE4612E}"/>
                </c:ext>
              </c:extLst>
            </c:dLbl>
            <c:dLbl>
              <c:idx val="9"/>
              <c:layout>
                <c:manualLayout>
                  <c:x val="0"/>
                  <c:y val="-0.104289318755256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6B4-43F3-BF7D-7ED38FE4612E}"/>
                </c:ext>
              </c:extLst>
            </c:dLbl>
            <c:dLbl>
              <c:idx val="10"/>
              <c:layout>
                <c:manualLayout>
                  <c:x val="0"/>
                  <c:y val="-0.116904962153069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6B4-43F3-BF7D-7ED38FE4612E}"/>
                </c:ext>
              </c:extLst>
            </c:dLbl>
            <c:dLbl>
              <c:idx val="11"/>
              <c:layout>
                <c:manualLayout>
                  <c:x val="0"/>
                  <c:y val="-0.12531539108494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6B4-43F3-BF7D-7ED38FE461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-10</c:v>
                </c:pt>
                <c:pt idx="2">
                  <c:v>-10</c:v>
                </c:pt>
                <c:pt idx="3">
                  <c:v>-40</c:v>
                </c:pt>
                <c:pt idx="4">
                  <c:v>-70</c:v>
                </c:pt>
                <c:pt idx="5">
                  <c:v>-140</c:v>
                </c:pt>
                <c:pt idx="6">
                  <c:v>-230</c:v>
                </c:pt>
                <c:pt idx="7">
                  <c:v>-400</c:v>
                </c:pt>
                <c:pt idx="8">
                  <c:v>-530</c:v>
                </c:pt>
                <c:pt idx="9">
                  <c:v>-680</c:v>
                </c:pt>
                <c:pt idx="10">
                  <c:v>-880</c:v>
                </c:pt>
                <c:pt idx="11">
                  <c:v>-1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6B4-43F3-BF7D-7ED38FE461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4082719"/>
        <c:axId val="1"/>
      </c:barChart>
      <c:catAx>
        <c:axId val="1144082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-20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EF Circular Book"/>
                <a:ea typeface="+mn-ea"/>
                <a:cs typeface="+mn-cs"/>
                <a:sym typeface="EF Circular Book"/>
              </a:defRPr>
            </a:pPr>
            <a:endParaRPr lang="es-CO"/>
          </a:p>
        </c:txPr>
        <c:crossAx val="1144082719"/>
        <c:crosses val="min"/>
        <c:crossBetween val="between"/>
        <c:majorUnit val="1000"/>
      </c:valAx>
    </c:plotArea>
    <c:plotVisOnly val="0"/>
    <c:dispBlanksAs val="gap"/>
    <c:showDLblsOverMax val="1"/>
  </c:char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13020941322827E-2"/>
          <c:y val="5.9714045416316232E-2"/>
          <c:w val="0.89280530789964752"/>
          <c:h val="0.879730866274179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9EEB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0</c:v>
                </c:pt>
                <c:pt idx="1">
                  <c:v>50</c:v>
                </c:pt>
                <c:pt idx="2">
                  <c:v>80</c:v>
                </c:pt>
                <c:pt idx="3">
                  <c:v>240</c:v>
                </c:pt>
                <c:pt idx="4">
                  <c:v>370</c:v>
                </c:pt>
                <c:pt idx="5">
                  <c:v>690</c:v>
                </c:pt>
                <c:pt idx="6">
                  <c:v>1180</c:v>
                </c:pt>
                <c:pt idx="7">
                  <c:v>2030</c:v>
                </c:pt>
                <c:pt idx="8">
                  <c:v>2530</c:v>
                </c:pt>
                <c:pt idx="9">
                  <c:v>3080</c:v>
                </c:pt>
                <c:pt idx="10">
                  <c:v>3780</c:v>
                </c:pt>
                <c:pt idx="11">
                  <c:v>4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B4-43F3-BF7D-7ED38FE4612E}"/>
            </c:ext>
          </c:extLst>
        </c:ser>
        <c:ser>
          <c:idx val="1"/>
          <c:order val="1"/>
          <c:spPr>
            <a:solidFill>
              <a:srgbClr val="003C64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6.223717409587888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B4-43F3-BF7D-7ED38FE4612E}"/>
                </c:ext>
              </c:extLst>
            </c:dLbl>
            <c:dLbl>
              <c:idx val="2"/>
              <c:layout>
                <c:manualLayout>
                  <c:x val="0"/>
                  <c:y val="-6.223717409587888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B4-43F3-BF7D-7ED38FE4612E}"/>
                </c:ext>
              </c:extLst>
            </c:dLbl>
            <c:dLbl>
              <c:idx val="3"/>
              <c:layout>
                <c:manualLayout>
                  <c:x val="0"/>
                  <c:y val="-6.3919259882253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B4-43F3-BF7D-7ED38FE4612E}"/>
                </c:ext>
              </c:extLst>
            </c:dLbl>
            <c:dLbl>
              <c:idx val="4"/>
              <c:layout>
                <c:manualLayout>
                  <c:x val="0"/>
                  <c:y val="-6.64423885618166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B4-43F3-BF7D-7ED38FE4612E}"/>
                </c:ext>
              </c:extLst>
            </c:dLbl>
            <c:dLbl>
              <c:idx val="5"/>
              <c:layout>
                <c:manualLayout>
                  <c:x val="0"/>
                  <c:y val="-7.064760302775441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B4-43F3-BF7D-7ED38FE4612E}"/>
                </c:ext>
              </c:extLst>
            </c:dLbl>
            <c:dLbl>
              <c:idx val="6"/>
              <c:layout>
                <c:manualLayout>
                  <c:x val="0"/>
                  <c:y val="-7.65349032800672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B4-43F3-BF7D-7ED38FE4612E}"/>
                </c:ext>
              </c:extLst>
            </c:dLbl>
            <c:dLbl>
              <c:idx val="7"/>
              <c:layout>
                <c:manualLayout>
                  <c:x val="0"/>
                  <c:y val="-8.662741799831791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6B4-43F3-BF7D-7ED38FE4612E}"/>
                </c:ext>
              </c:extLst>
            </c:dLbl>
            <c:dLbl>
              <c:idx val="8"/>
              <c:layout>
                <c:manualLayout>
                  <c:x val="0"/>
                  <c:y val="-9.503784693019344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6B4-43F3-BF7D-7ED38FE4612E}"/>
                </c:ext>
              </c:extLst>
            </c:dLbl>
            <c:dLbl>
              <c:idx val="9"/>
              <c:layout>
                <c:manualLayout>
                  <c:x val="0"/>
                  <c:y val="-0.104289318755256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cs typeface="+mn-cs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6B4-43F3-BF7D-7ED38FE4612E}"/>
                </c:ext>
              </c:extLst>
            </c:dLbl>
            <c:dLbl>
              <c:idx val="10"/>
              <c:layout>
                <c:manualLayout>
                  <c:x val="0"/>
                  <c:y val="-0.116904962153069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6B4-43F3-BF7D-7ED38FE4612E}"/>
                </c:ext>
              </c:extLst>
            </c:dLbl>
            <c:dLbl>
              <c:idx val="11"/>
              <c:layout>
                <c:manualLayout>
                  <c:x val="0"/>
                  <c:y val="-0.12531539108494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EF Circular Book"/>
                      <a:ea typeface="+mn-ea"/>
                      <a:sym typeface="EF Circular Book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6B4-43F3-BF7D-7ED38FE461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-10</c:v>
                </c:pt>
                <c:pt idx="2">
                  <c:v>-10</c:v>
                </c:pt>
                <c:pt idx="3">
                  <c:v>-40</c:v>
                </c:pt>
                <c:pt idx="4">
                  <c:v>-70</c:v>
                </c:pt>
                <c:pt idx="5">
                  <c:v>-140</c:v>
                </c:pt>
                <c:pt idx="6">
                  <c:v>-230</c:v>
                </c:pt>
                <c:pt idx="7">
                  <c:v>-400</c:v>
                </c:pt>
                <c:pt idx="8">
                  <c:v>-530</c:v>
                </c:pt>
                <c:pt idx="9">
                  <c:v>-680</c:v>
                </c:pt>
                <c:pt idx="10">
                  <c:v>-880</c:v>
                </c:pt>
                <c:pt idx="11">
                  <c:v>-1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6B4-43F3-BF7D-7ED38FE461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4082719"/>
        <c:axId val="1"/>
      </c:barChart>
      <c:catAx>
        <c:axId val="1144082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-20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EF Circular Book"/>
                <a:ea typeface="+mn-ea"/>
                <a:cs typeface="+mn-cs"/>
                <a:sym typeface="EF Circular Book"/>
              </a:defRPr>
            </a:pPr>
            <a:endParaRPr lang="es-CO"/>
          </a:p>
        </c:txPr>
        <c:crossAx val="1144082719"/>
        <c:crosses val="min"/>
        <c:crossBetween val="between"/>
        <c:majorUnit val="1000"/>
      </c:valAx>
    </c:plotArea>
    <c:plotVisOnly val="0"/>
    <c:dispBlanksAs val="gap"/>
    <c:showDLblsOverMax val="1"/>
  </c:char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96591169068863E-2"/>
          <c:y val="2.7911969940955447E-2"/>
          <c:w val="0.97620681766186235"/>
          <c:h val="0.9441760601180890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6350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1F0-4631-8C43-AA68290703B2}"/>
              </c:ext>
            </c:extLst>
          </c:dPt>
          <c:dPt>
            <c:idx val="1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1F0-4631-8C43-AA68290703B2}"/>
              </c:ext>
            </c:extLst>
          </c:dPt>
          <c:dPt>
            <c:idx val="2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1F0-4631-8C43-AA68290703B2}"/>
              </c:ext>
            </c:extLst>
          </c:dPt>
          <c:dPt>
            <c:idx val="3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1F0-4631-8C43-AA68290703B2}"/>
              </c:ext>
            </c:extLst>
          </c:dPt>
          <c:dPt>
            <c:idx val="4"/>
            <c:invertIfNegative val="0"/>
            <c:bubble3D val="0"/>
            <c:spPr>
              <a:noFill/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C1F0-4631-8C43-AA68290703B2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539</c:v>
                </c:pt>
                <c:pt idx="1">
                  <c:v>3579</c:v>
                </c:pt>
                <c:pt idx="2">
                  <c:v>6094</c:v>
                </c:pt>
                <c:pt idx="3">
                  <c:v>9048</c:v>
                </c:pt>
                <c:pt idx="4">
                  <c:v>13619.428571428571</c:v>
                </c:pt>
                <c:pt idx="5">
                  <c:v>19194.428571428572</c:v>
                </c:pt>
                <c:pt idx="6">
                  <c:v>29115.011946428574</c:v>
                </c:pt>
                <c:pt idx="7">
                  <c:v>46156.21819642857</c:v>
                </c:pt>
                <c:pt idx="8">
                  <c:v>53371.605696428567</c:v>
                </c:pt>
                <c:pt idx="9">
                  <c:v>61841.358196428569</c:v>
                </c:pt>
                <c:pt idx="10">
                  <c:v>71698.686876984124</c:v>
                </c:pt>
                <c:pt idx="11">
                  <c:v>78020.651738095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1F0-4631-8C43-AA68290703B2}"/>
            </c:ext>
          </c:extLst>
        </c:ser>
        <c:ser>
          <c:idx val="1"/>
          <c:order val="1"/>
          <c:spPr>
            <a:noFill/>
            <a:ln w="6350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C1F0-4631-8C43-AA68290703B2}"/>
              </c:ext>
            </c:extLst>
          </c:dPt>
          <c:dPt>
            <c:idx val="1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C1F0-4631-8C43-AA68290703B2}"/>
              </c:ext>
            </c:extLst>
          </c:dPt>
          <c:dPt>
            <c:idx val="2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C1F0-4631-8C43-AA68290703B2}"/>
              </c:ext>
            </c:extLst>
          </c:dPt>
          <c:dPt>
            <c:idx val="3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C1F0-4631-8C43-AA68290703B2}"/>
              </c:ext>
            </c:extLst>
          </c:dPt>
          <c:dPt>
            <c:idx val="4"/>
            <c:invertIfNegative val="0"/>
            <c:bubble3D val="0"/>
            <c:spPr>
              <a:noFill/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C1F0-4631-8C43-AA68290703B2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66</c:v>
                </c:pt>
                <c:pt idx="1">
                  <c:v>129</c:v>
                </c:pt>
                <c:pt idx="2">
                  <c:v>204</c:v>
                </c:pt>
                <c:pt idx="3">
                  <c:v>294</c:v>
                </c:pt>
                <c:pt idx="4">
                  <c:v>454</c:v>
                </c:pt>
                <c:pt idx="5">
                  <c:v>677</c:v>
                </c:pt>
                <c:pt idx="6">
                  <c:v>1097</c:v>
                </c:pt>
                <c:pt idx="7">
                  <c:v>1812</c:v>
                </c:pt>
                <c:pt idx="8">
                  <c:v>2147</c:v>
                </c:pt>
                <c:pt idx="9">
                  <c:v>2547</c:v>
                </c:pt>
                <c:pt idx="10">
                  <c:v>3067</c:v>
                </c:pt>
                <c:pt idx="11">
                  <c:v>34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C1F0-4631-8C43-AA68290703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7285256"/>
        <c:axId val="1"/>
      </c:barChart>
      <c:catAx>
        <c:axId val="587285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EF Circular Book"/>
                <a:ea typeface="+mn-ea"/>
                <a:cs typeface="EF Circular Book"/>
                <a:sym typeface="EF Circular Book"/>
              </a:defRPr>
            </a:pPr>
            <a:endParaRPr lang="es-CO"/>
          </a:p>
        </c:txPr>
        <c:crossAx val="587285256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96591169068863E-2"/>
          <c:y val="2.7911969940955447E-2"/>
          <c:w val="0.97620681766186235"/>
          <c:h val="0.9441760601180890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6350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1F0-4631-8C43-AA68290703B2}"/>
              </c:ext>
            </c:extLst>
          </c:dPt>
          <c:dPt>
            <c:idx val="1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1F0-4631-8C43-AA68290703B2}"/>
              </c:ext>
            </c:extLst>
          </c:dPt>
          <c:dPt>
            <c:idx val="2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1F0-4631-8C43-AA68290703B2}"/>
              </c:ext>
            </c:extLst>
          </c:dPt>
          <c:dPt>
            <c:idx val="3"/>
            <c:invertIfNegative val="0"/>
            <c:bubble3D val="0"/>
            <c:spPr>
              <a:solidFill>
                <a:srgbClr val="003F5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C1F0-4631-8C43-AA68290703B2}"/>
              </c:ext>
            </c:extLst>
          </c:dPt>
          <c:dPt>
            <c:idx val="4"/>
            <c:invertIfNegative val="0"/>
            <c:bubble3D val="0"/>
            <c:spPr>
              <a:noFill/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C1F0-4631-8C43-AA68290703B2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539</c:v>
                </c:pt>
                <c:pt idx="1">
                  <c:v>3579</c:v>
                </c:pt>
                <c:pt idx="2">
                  <c:v>6094</c:v>
                </c:pt>
                <c:pt idx="3">
                  <c:v>9048</c:v>
                </c:pt>
                <c:pt idx="4">
                  <c:v>13619.428571428571</c:v>
                </c:pt>
                <c:pt idx="5">
                  <c:v>19194.428571428572</c:v>
                </c:pt>
                <c:pt idx="6">
                  <c:v>29115.011946428574</c:v>
                </c:pt>
                <c:pt idx="7">
                  <c:v>46156.21819642857</c:v>
                </c:pt>
                <c:pt idx="8">
                  <c:v>53371.605696428567</c:v>
                </c:pt>
                <c:pt idx="9">
                  <c:v>61841.358196428569</c:v>
                </c:pt>
                <c:pt idx="10">
                  <c:v>71698.686876984124</c:v>
                </c:pt>
                <c:pt idx="11">
                  <c:v>78020.651738095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1F0-4631-8C43-AA68290703B2}"/>
            </c:ext>
          </c:extLst>
        </c:ser>
        <c:ser>
          <c:idx val="1"/>
          <c:order val="1"/>
          <c:spPr>
            <a:noFill/>
            <a:ln w="6350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C1F0-4631-8C43-AA68290703B2}"/>
              </c:ext>
            </c:extLst>
          </c:dPt>
          <c:dPt>
            <c:idx val="1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C1F0-4631-8C43-AA68290703B2}"/>
              </c:ext>
            </c:extLst>
          </c:dPt>
          <c:dPt>
            <c:idx val="2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C1F0-4631-8C43-AA68290703B2}"/>
              </c:ext>
            </c:extLst>
          </c:dPt>
          <c:dPt>
            <c:idx val="3"/>
            <c:invertIfNegative val="0"/>
            <c:bubble3D val="0"/>
            <c:spPr>
              <a:solidFill>
                <a:srgbClr val="009EE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C1F0-4631-8C43-AA68290703B2}"/>
              </c:ext>
            </c:extLst>
          </c:dPt>
          <c:dPt>
            <c:idx val="4"/>
            <c:invertIfNegative val="0"/>
            <c:bubble3D val="0"/>
            <c:spPr>
              <a:noFill/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C1F0-4631-8C43-AA68290703B2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66</c:v>
                </c:pt>
                <c:pt idx="1">
                  <c:v>129</c:v>
                </c:pt>
                <c:pt idx="2">
                  <c:v>204</c:v>
                </c:pt>
                <c:pt idx="3">
                  <c:v>294</c:v>
                </c:pt>
                <c:pt idx="4">
                  <c:v>454</c:v>
                </c:pt>
                <c:pt idx="5">
                  <c:v>677</c:v>
                </c:pt>
                <c:pt idx="6">
                  <c:v>1097</c:v>
                </c:pt>
                <c:pt idx="7">
                  <c:v>1812</c:v>
                </c:pt>
                <c:pt idx="8">
                  <c:v>2147</c:v>
                </c:pt>
                <c:pt idx="9">
                  <c:v>2547</c:v>
                </c:pt>
                <c:pt idx="10">
                  <c:v>3067</c:v>
                </c:pt>
                <c:pt idx="11">
                  <c:v>34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C1F0-4631-8C43-AA68290703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7285256"/>
        <c:axId val="1"/>
      </c:barChart>
      <c:catAx>
        <c:axId val="5872852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EF Circular Book"/>
                <a:ea typeface="+mn-ea"/>
                <a:cs typeface="EF Circular Book"/>
                <a:sym typeface="EF Circular Book"/>
              </a:defRPr>
            </a:pPr>
            <a:endParaRPr lang="es-CO"/>
          </a:p>
        </c:txPr>
        <c:crossAx val="587285256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791383219954649E-2"/>
          <c:y val="4.5217391304347827E-2"/>
          <c:w val="0.9764172335600908"/>
          <c:h val="0.90956521739130436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1C1-4C68-BCF2-1CCEE8A85D25}"/>
              </c:ext>
            </c:extLst>
          </c:dPt>
          <c:dPt>
            <c:idx val="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1C1-4C68-BCF2-1CCEE8A85D25}"/>
              </c:ext>
            </c:extLst>
          </c:dPt>
          <c:dPt>
            <c:idx val="2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1C1-4C68-BCF2-1CCEE8A85D25}"/>
              </c:ext>
            </c:extLst>
          </c:dPt>
          <c:dPt>
            <c:idx val="3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1C1-4C68-BCF2-1CCEE8A85D25}"/>
              </c:ext>
            </c:extLst>
          </c:dPt>
          <c:dPt>
            <c:idx val="4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1C1-4C68-BCF2-1CCEE8A85D25}"/>
              </c:ext>
            </c:extLst>
          </c:dPt>
          <c:dPt>
            <c:idx val="5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1C1-4C68-BCF2-1CCEE8A85D25}"/>
              </c:ext>
            </c:extLst>
          </c:dPt>
          <c:dPt>
            <c:idx val="6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1C1-4C68-BCF2-1CCEE8A85D25}"/>
              </c:ext>
            </c:extLst>
          </c:dPt>
          <c:dPt>
            <c:idx val="7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1C1-4C68-BCF2-1CCEE8A85D25}"/>
              </c:ext>
            </c:extLst>
          </c:dPt>
          <c:dPt>
            <c:idx val="8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1C1-4C68-BCF2-1CCEE8A85D25}"/>
              </c:ext>
            </c:extLst>
          </c:dPt>
          <c:dPt>
            <c:idx val="9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1C1-4C68-BCF2-1CCEE8A85D25}"/>
              </c:ext>
            </c:extLst>
          </c:dPt>
          <c:dPt>
            <c:idx val="1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1C1-4C68-BCF2-1CCEE8A85D25}"/>
              </c:ext>
            </c:extLst>
          </c:dPt>
          <c:dPt>
            <c:idx val="1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1C1-4C68-BCF2-1CCEE8A85D25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1:$L$1</c:f>
                <c:numCache>
                  <c:formatCode>General</c:formatCode>
                  <c:ptCount val="12"/>
                  <c:pt idx="0">
                    <c:v>150</c:v>
                  </c:pt>
                  <c:pt idx="1">
                    <c:v>330</c:v>
                  </c:pt>
                  <c:pt idx="2">
                    <c:v>320</c:v>
                  </c:pt>
                  <c:pt idx="3">
                    <c:v>1240</c:v>
                  </c:pt>
                  <c:pt idx="4">
                    <c:v>2390</c:v>
                  </c:pt>
                  <c:pt idx="5">
                    <c:v>4900</c:v>
                  </c:pt>
                  <c:pt idx="6">
                    <c:v>9060</c:v>
                  </c:pt>
                  <c:pt idx="7">
                    <c:v>13840</c:v>
                  </c:pt>
                  <c:pt idx="8">
                    <c:v>19180</c:v>
                  </c:pt>
                  <c:pt idx="9">
                    <c:v>24510</c:v>
                  </c:pt>
                  <c:pt idx="10">
                    <c:v>29820</c:v>
                  </c:pt>
                  <c:pt idx="11">
                    <c:v>35360</c:v>
                  </c:pt>
                </c:numCache>
              </c:numRef>
            </c:plus>
            <c:spPr>
              <a:ln w="9525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2:$L$2</c:f>
              <c:numCache>
                <c:formatCode>General</c:formatCode>
                <c:ptCount val="12"/>
                <c:pt idx="0">
                  <c:v>150</c:v>
                </c:pt>
                <c:pt idx="1">
                  <c:v>330</c:v>
                </c:pt>
                <c:pt idx="2">
                  <c:v>320</c:v>
                </c:pt>
                <c:pt idx="3">
                  <c:v>1240</c:v>
                </c:pt>
                <c:pt idx="4">
                  <c:v>2390</c:v>
                </c:pt>
                <c:pt idx="5">
                  <c:v>4900</c:v>
                </c:pt>
                <c:pt idx="6">
                  <c:v>9060</c:v>
                </c:pt>
                <c:pt idx="7">
                  <c:v>13840</c:v>
                </c:pt>
                <c:pt idx="8">
                  <c:v>19180</c:v>
                </c:pt>
                <c:pt idx="9">
                  <c:v>24510</c:v>
                </c:pt>
                <c:pt idx="10">
                  <c:v>29820</c:v>
                </c:pt>
                <c:pt idx="11">
                  <c:v>35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B1C1-4C68-BCF2-1CCEE8A85D25}"/>
            </c:ext>
          </c:extLst>
        </c:ser>
        <c:ser>
          <c:idx val="1"/>
          <c:order val="1"/>
          <c:spPr>
            <a:ln w="28575" algn="ctr">
              <a:solidFill>
                <a:srgbClr val="003F5F"/>
              </a:solidFill>
              <a:prstDash val="solid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0">
                  <c:v>225</c:v>
                </c:pt>
                <c:pt idx="1">
                  <c:v>495</c:v>
                </c:pt>
                <c:pt idx="2">
                  <c:v>480</c:v>
                </c:pt>
                <c:pt idx="3">
                  <c:v>1860</c:v>
                </c:pt>
                <c:pt idx="4">
                  <c:v>3585</c:v>
                </c:pt>
                <c:pt idx="5">
                  <c:v>7350</c:v>
                </c:pt>
                <c:pt idx="6">
                  <c:v>13590</c:v>
                </c:pt>
                <c:pt idx="7">
                  <c:v>20760</c:v>
                </c:pt>
                <c:pt idx="8">
                  <c:v>28770</c:v>
                </c:pt>
                <c:pt idx="9">
                  <c:v>36765</c:v>
                </c:pt>
                <c:pt idx="10">
                  <c:v>44730</c:v>
                </c:pt>
                <c:pt idx="11">
                  <c:v>530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B1C1-4C68-BCF2-1CCEE8A85D25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1C1-4C68-BCF2-1CCEE8A85D25}"/>
              </c:ext>
            </c:extLst>
          </c:dPt>
          <c:dPt>
            <c:idx val="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1C1-4C68-BCF2-1CCEE8A85D25}"/>
              </c:ext>
            </c:extLst>
          </c:dPt>
          <c:dPt>
            <c:idx val="2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1C1-4C68-BCF2-1CCEE8A85D25}"/>
              </c:ext>
            </c:extLst>
          </c:dPt>
          <c:dPt>
            <c:idx val="3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1C1-4C68-BCF2-1CCEE8A85D25}"/>
              </c:ext>
            </c:extLst>
          </c:dPt>
          <c:dPt>
            <c:idx val="4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1C1-4C68-BCF2-1CCEE8A85D25}"/>
              </c:ext>
            </c:extLst>
          </c:dPt>
          <c:dPt>
            <c:idx val="5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1C1-4C68-BCF2-1CCEE8A85D25}"/>
              </c:ext>
            </c:extLst>
          </c:dPt>
          <c:dPt>
            <c:idx val="6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1C1-4C68-BCF2-1CCEE8A85D25}"/>
              </c:ext>
            </c:extLst>
          </c:dPt>
          <c:dPt>
            <c:idx val="7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1C1-4C68-BCF2-1CCEE8A85D25}"/>
              </c:ext>
            </c:extLst>
          </c:dPt>
          <c:dPt>
            <c:idx val="8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1C1-4C68-BCF2-1CCEE8A85D25}"/>
              </c:ext>
            </c:extLst>
          </c:dPt>
          <c:dPt>
            <c:idx val="9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1C1-4C68-BCF2-1CCEE8A85D25}"/>
              </c:ext>
            </c:extLst>
          </c:dPt>
          <c:dPt>
            <c:idx val="1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1C1-4C68-BCF2-1CCEE8A85D25}"/>
              </c:ext>
            </c:extLst>
          </c:dPt>
          <c:dPt>
            <c:idx val="1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1C1-4C68-BCF2-1CCEE8A85D25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300</c:v>
                </c:pt>
                <c:pt idx="1">
                  <c:v>660</c:v>
                </c:pt>
                <c:pt idx="2">
                  <c:v>640</c:v>
                </c:pt>
                <c:pt idx="3">
                  <c:v>2480</c:v>
                </c:pt>
                <c:pt idx="4">
                  <c:v>4780</c:v>
                </c:pt>
                <c:pt idx="5">
                  <c:v>9800</c:v>
                </c:pt>
                <c:pt idx="6">
                  <c:v>18120</c:v>
                </c:pt>
                <c:pt idx="7">
                  <c:v>27680</c:v>
                </c:pt>
                <c:pt idx="8">
                  <c:v>38360</c:v>
                </c:pt>
                <c:pt idx="9">
                  <c:v>49020</c:v>
                </c:pt>
                <c:pt idx="10">
                  <c:v>59640</c:v>
                </c:pt>
                <c:pt idx="11">
                  <c:v>707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B1C1-4C68-BCF2-1CCEE8A85D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6542943"/>
        <c:axId val="1"/>
      </c:lineChart>
      <c:catAx>
        <c:axId val="1176542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EF Circular Book"/>
                <a:ea typeface="+mn-ea"/>
                <a:cs typeface="+mn-cs"/>
                <a:sym typeface="EF Circular Book"/>
              </a:defRPr>
            </a:pPr>
            <a:endParaRPr lang="es-CO"/>
          </a:p>
        </c:txPr>
        <c:crossAx val="1176542943"/>
        <c:crosses val="min"/>
        <c:crossBetween val="midCat"/>
        <c:majorUnit val="10000"/>
      </c:valAx>
    </c:plotArea>
    <c:plotVisOnly val="0"/>
    <c:dispBlanksAs val="gap"/>
    <c:showDLblsOverMax val="1"/>
  </c:char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791383219954649E-2"/>
          <c:y val="4.5217391304347827E-2"/>
          <c:w val="0.9764172335600908"/>
          <c:h val="0.90956521739130436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1C1-4C68-BCF2-1CCEE8A85D25}"/>
              </c:ext>
            </c:extLst>
          </c:dPt>
          <c:dPt>
            <c:idx val="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1C1-4C68-BCF2-1CCEE8A85D25}"/>
              </c:ext>
            </c:extLst>
          </c:dPt>
          <c:dPt>
            <c:idx val="2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1C1-4C68-BCF2-1CCEE8A85D25}"/>
              </c:ext>
            </c:extLst>
          </c:dPt>
          <c:dPt>
            <c:idx val="3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1C1-4C68-BCF2-1CCEE8A85D25}"/>
              </c:ext>
            </c:extLst>
          </c:dPt>
          <c:dPt>
            <c:idx val="4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1C1-4C68-BCF2-1CCEE8A85D25}"/>
              </c:ext>
            </c:extLst>
          </c:dPt>
          <c:dPt>
            <c:idx val="5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1C1-4C68-BCF2-1CCEE8A85D25}"/>
              </c:ext>
            </c:extLst>
          </c:dPt>
          <c:dPt>
            <c:idx val="6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1C1-4C68-BCF2-1CCEE8A85D25}"/>
              </c:ext>
            </c:extLst>
          </c:dPt>
          <c:dPt>
            <c:idx val="7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1C1-4C68-BCF2-1CCEE8A85D25}"/>
              </c:ext>
            </c:extLst>
          </c:dPt>
          <c:dPt>
            <c:idx val="8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1C1-4C68-BCF2-1CCEE8A85D25}"/>
              </c:ext>
            </c:extLst>
          </c:dPt>
          <c:dPt>
            <c:idx val="9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1C1-4C68-BCF2-1CCEE8A85D25}"/>
              </c:ext>
            </c:extLst>
          </c:dPt>
          <c:dPt>
            <c:idx val="1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1C1-4C68-BCF2-1CCEE8A85D25}"/>
              </c:ext>
            </c:extLst>
          </c:dPt>
          <c:dPt>
            <c:idx val="1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1C1-4C68-BCF2-1CCEE8A85D25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A$1:$L$1</c:f>
                <c:numCache>
                  <c:formatCode>General</c:formatCode>
                  <c:ptCount val="12"/>
                  <c:pt idx="0">
                    <c:v>150</c:v>
                  </c:pt>
                  <c:pt idx="1">
                    <c:v>330</c:v>
                  </c:pt>
                  <c:pt idx="2">
                    <c:v>320</c:v>
                  </c:pt>
                  <c:pt idx="3">
                    <c:v>1240</c:v>
                  </c:pt>
                  <c:pt idx="4">
                    <c:v>2390</c:v>
                  </c:pt>
                  <c:pt idx="5">
                    <c:v>4900</c:v>
                  </c:pt>
                  <c:pt idx="6">
                    <c:v>9060</c:v>
                  </c:pt>
                  <c:pt idx="7">
                    <c:v>13840</c:v>
                  </c:pt>
                  <c:pt idx="8">
                    <c:v>19180</c:v>
                  </c:pt>
                  <c:pt idx="9">
                    <c:v>24510</c:v>
                  </c:pt>
                  <c:pt idx="10">
                    <c:v>29820</c:v>
                  </c:pt>
                  <c:pt idx="11">
                    <c:v>35360</c:v>
                  </c:pt>
                </c:numCache>
              </c:numRef>
            </c:plus>
            <c:spPr>
              <a:ln w="9525" algn="ctr">
                <a:solidFill>
                  <a:schemeClr val="tx1"/>
                </a:solidFill>
                <a:prstDash val="solid"/>
              </a:ln>
            </c:spPr>
          </c:errBars>
          <c:val>
            <c:numRef>
              <c:f>Sheet1!$A$2:$L$2</c:f>
              <c:numCache>
                <c:formatCode>General</c:formatCode>
                <c:ptCount val="12"/>
                <c:pt idx="0">
                  <c:v>150</c:v>
                </c:pt>
                <c:pt idx="1">
                  <c:v>330</c:v>
                </c:pt>
                <c:pt idx="2">
                  <c:v>320</c:v>
                </c:pt>
                <c:pt idx="3">
                  <c:v>1240</c:v>
                </c:pt>
                <c:pt idx="4">
                  <c:v>2390</c:v>
                </c:pt>
                <c:pt idx="5">
                  <c:v>4900</c:v>
                </c:pt>
                <c:pt idx="6">
                  <c:v>9060</c:v>
                </c:pt>
                <c:pt idx="7">
                  <c:v>13840</c:v>
                </c:pt>
                <c:pt idx="8">
                  <c:v>19180</c:v>
                </c:pt>
                <c:pt idx="9">
                  <c:v>24510</c:v>
                </c:pt>
                <c:pt idx="10">
                  <c:v>29820</c:v>
                </c:pt>
                <c:pt idx="11">
                  <c:v>35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B1C1-4C68-BCF2-1CCEE8A85D25}"/>
            </c:ext>
          </c:extLst>
        </c:ser>
        <c:ser>
          <c:idx val="1"/>
          <c:order val="1"/>
          <c:spPr>
            <a:ln w="28575" algn="ctr">
              <a:solidFill>
                <a:srgbClr val="003F5F"/>
              </a:solidFill>
              <a:prstDash val="solid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0">
                  <c:v>225</c:v>
                </c:pt>
                <c:pt idx="1">
                  <c:v>495</c:v>
                </c:pt>
                <c:pt idx="2">
                  <c:v>480</c:v>
                </c:pt>
                <c:pt idx="3">
                  <c:v>1860</c:v>
                </c:pt>
                <c:pt idx="4">
                  <c:v>3585</c:v>
                </c:pt>
                <c:pt idx="5">
                  <c:v>7350</c:v>
                </c:pt>
                <c:pt idx="6">
                  <c:v>13590</c:v>
                </c:pt>
                <c:pt idx="7">
                  <c:v>20760</c:v>
                </c:pt>
                <c:pt idx="8">
                  <c:v>28770</c:v>
                </c:pt>
                <c:pt idx="9">
                  <c:v>36765</c:v>
                </c:pt>
                <c:pt idx="10">
                  <c:v>44730</c:v>
                </c:pt>
                <c:pt idx="11">
                  <c:v>530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B1C1-4C68-BCF2-1CCEE8A85D25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1C1-4C68-BCF2-1CCEE8A85D25}"/>
              </c:ext>
            </c:extLst>
          </c:dPt>
          <c:dPt>
            <c:idx val="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1C1-4C68-BCF2-1CCEE8A85D25}"/>
              </c:ext>
            </c:extLst>
          </c:dPt>
          <c:dPt>
            <c:idx val="2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1C1-4C68-BCF2-1CCEE8A85D25}"/>
              </c:ext>
            </c:extLst>
          </c:dPt>
          <c:dPt>
            <c:idx val="3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1C1-4C68-BCF2-1CCEE8A85D25}"/>
              </c:ext>
            </c:extLst>
          </c:dPt>
          <c:dPt>
            <c:idx val="4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1C1-4C68-BCF2-1CCEE8A85D25}"/>
              </c:ext>
            </c:extLst>
          </c:dPt>
          <c:dPt>
            <c:idx val="5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1C1-4C68-BCF2-1CCEE8A85D25}"/>
              </c:ext>
            </c:extLst>
          </c:dPt>
          <c:dPt>
            <c:idx val="6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1C1-4C68-BCF2-1CCEE8A85D25}"/>
              </c:ext>
            </c:extLst>
          </c:dPt>
          <c:dPt>
            <c:idx val="7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1C1-4C68-BCF2-1CCEE8A85D25}"/>
              </c:ext>
            </c:extLst>
          </c:dPt>
          <c:dPt>
            <c:idx val="8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1C1-4C68-BCF2-1CCEE8A85D25}"/>
              </c:ext>
            </c:extLst>
          </c:dPt>
          <c:dPt>
            <c:idx val="9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1C1-4C68-BCF2-1CCEE8A85D25}"/>
              </c:ext>
            </c:extLst>
          </c:dPt>
          <c:dPt>
            <c:idx val="10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1C1-4C68-BCF2-1CCEE8A85D25}"/>
              </c:ext>
            </c:extLst>
          </c:dPt>
          <c:dPt>
            <c:idx val="11"/>
            <c:marker>
              <c:symbol val="dash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1C1-4C68-BCF2-1CCEE8A85D25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300</c:v>
                </c:pt>
                <c:pt idx="1">
                  <c:v>660</c:v>
                </c:pt>
                <c:pt idx="2">
                  <c:v>640</c:v>
                </c:pt>
                <c:pt idx="3">
                  <c:v>2480</c:v>
                </c:pt>
                <c:pt idx="4">
                  <c:v>4780</c:v>
                </c:pt>
                <c:pt idx="5">
                  <c:v>9800</c:v>
                </c:pt>
                <c:pt idx="6">
                  <c:v>18120</c:v>
                </c:pt>
                <c:pt idx="7">
                  <c:v>27680</c:v>
                </c:pt>
                <c:pt idx="8">
                  <c:v>38360</c:v>
                </c:pt>
                <c:pt idx="9">
                  <c:v>49020</c:v>
                </c:pt>
                <c:pt idx="10">
                  <c:v>59640</c:v>
                </c:pt>
                <c:pt idx="11">
                  <c:v>707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B1C1-4C68-BCF2-1CCEE8A85D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6542943"/>
        <c:axId val="1"/>
      </c:lineChart>
      <c:catAx>
        <c:axId val="1176542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EF Circular Book"/>
                <a:ea typeface="+mn-ea"/>
                <a:cs typeface="+mn-cs"/>
                <a:sym typeface="EF Circular Book"/>
              </a:defRPr>
            </a:pPr>
            <a:endParaRPr lang="es-CO"/>
          </a:p>
        </c:txPr>
        <c:crossAx val="1176542943"/>
        <c:crosses val="min"/>
        <c:crossBetween val="midCat"/>
        <c:majorUnit val="10000"/>
      </c:valAx>
    </c:plotArea>
    <c:plotVisOnly val="0"/>
    <c:dispBlanksAs val="gap"/>
    <c:showDLblsOverMax val="1"/>
  </c:char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20DA90-7DD1-B345-A576-7815647F102D}" type="datetimeFigureOut">
              <a:rPr lang="en-US" smtClean="0"/>
              <a:t>Feb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37764E-0953-2947-ABB5-0AF9C4B6726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23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6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6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5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chart" Target="../charts/chart3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slideMaster" Target="../slideMasters/slideMaster1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tags" Target="../tags/tag83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4" Type="http://schemas.openxmlformats.org/officeDocument/2006/relationships/chart" Target="../charts/chart4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slideMaster" Target="../slideMasters/slideMaster1.xml"/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6" Type="http://schemas.openxmlformats.org/officeDocument/2006/relationships/tags" Target="../tags/tag110.xml"/><Relationship Id="rId21" Type="http://schemas.openxmlformats.org/officeDocument/2006/relationships/tags" Target="../tags/tag105.xml"/><Relationship Id="rId42" Type="http://schemas.openxmlformats.org/officeDocument/2006/relationships/tags" Target="../tags/tag126.xml"/><Relationship Id="rId47" Type="http://schemas.openxmlformats.org/officeDocument/2006/relationships/tags" Target="../tags/tag131.xml"/><Relationship Id="rId63" Type="http://schemas.openxmlformats.org/officeDocument/2006/relationships/tags" Target="../tags/tag147.xml"/><Relationship Id="rId68" Type="http://schemas.openxmlformats.org/officeDocument/2006/relationships/slideMaster" Target="../slideMasters/slideMaster1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9" Type="http://schemas.openxmlformats.org/officeDocument/2006/relationships/tags" Target="../tags/tag113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53" Type="http://schemas.openxmlformats.org/officeDocument/2006/relationships/tags" Target="../tags/tag137.xml"/><Relationship Id="rId58" Type="http://schemas.openxmlformats.org/officeDocument/2006/relationships/tags" Target="../tags/tag142.xml"/><Relationship Id="rId66" Type="http://schemas.openxmlformats.org/officeDocument/2006/relationships/tags" Target="../tags/tag150.xml"/><Relationship Id="rId5" Type="http://schemas.openxmlformats.org/officeDocument/2006/relationships/tags" Target="../tags/tag89.xml"/><Relationship Id="rId61" Type="http://schemas.openxmlformats.org/officeDocument/2006/relationships/tags" Target="../tags/tag145.xml"/><Relationship Id="rId19" Type="http://schemas.openxmlformats.org/officeDocument/2006/relationships/tags" Target="../tags/tag10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tags" Target="../tags/tag127.xml"/><Relationship Id="rId48" Type="http://schemas.openxmlformats.org/officeDocument/2006/relationships/tags" Target="../tags/tag132.xml"/><Relationship Id="rId56" Type="http://schemas.openxmlformats.org/officeDocument/2006/relationships/tags" Target="../tags/tag140.xml"/><Relationship Id="rId64" Type="http://schemas.openxmlformats.org/officeDocument/2006/relationships/tags" Target="../tags/tag148.xml"/><Relationship Id="rId69" Type="http://schemas.openxmlformats.org/officeDocument/2006/relationships/image" Target="../media/image7.png"/><Relationship Id="rId8" Type="http://schemas.openxmlformats.org/officeDocument/2006/relationships/tags" Target="../tags/tag92.xml"/><Relationship Id="rId51" Type="http://schemas.openxmlformats.org/officeDocument/2006/relationships/tags" Target="../tags/tag135.xml"/><Relationship Id="rId3" Type="http://schemas.openxmlformats.org/officeDocument/2006/relationships/tags" Target="../tags/tag87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tags" Target="../tags/tag130.xml"/><Relationship Id="rId59" Type="http://schemas.openxmlformats.org/officeDocument/2006/relationships/tags" Target="../tags/tag143.xml"/><Relationship Id="rId67" Type="http://schemas.openxmlformats.org/officeDocument/2006/relationships/tags" Target="../tags/tag151.xml"/><Relationship Id="rId20" Type="http://schemas.openxmlformats.org/officeDocument/2006/relationships/tags" Target="../tags/tag104.xml"/><Relationship Id="rId41" Type="http://schemas.openxmlformats.org/officeDocument/2006/relationships/tags" Target="../tags/tag125.xml"/><Relationship Id="rId54" Type="http://schemas.openxmlformats.org/officeDocument/2006/relationships/tags" Target="../tags/tag138.xml"/><Relationship Id="rId62" Type="http://schemas.openxmlformats.org/officeDocument/2006/relationships/tags" Target="../tags/tag146.xml"/><Relationship Id="rId70" Type="http://schemas.openxmlformats.org/officeDocument/2006/relationships/chart" Target="../charts/chart5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49" Type="http://schemas.openxmlformats.org/officeDocument/2006/relationships/tags" Target="../tags/tag133.xml"/><Relationship Id="rId57" Type="http://schemas.openxmlformats.org/officeDocument/2006/relationships/tags" Target="../tags/tag141.xml"/><Relationship Id="rId10" Type="http://schemas.openxmlformats.org/officeDocument/2006/relationships/tags" Target="../tags/tag94.xml"/><Relationship Id="rId31" Type="http://schemas.openxmlformats.org/officeDocument/2006/relationships/tags" Target="../tags/tag115.xml"/><Relationship Id="rId44" Type="http://schemas.openxmlformats.org/officeDocument/2006/relationships/tags" Target="../tags/tag128.xml"/><Relationship Id="rId52" Type="http://schemas.openxmlformats.org/officeDocument/2006/relationships/tags" Target="../tags/tag136.xml"/><Relationship Id="rId60" Type="http://schemas.openxmlformats.org/officeDocument/2006/relationships/tags" Target="../tags/tag144.xml"/><Relationship Id="rId65" Type="http://schemas.openxmlformats.org/officeDocument/2006/relationships/tags" Target="../tags/tag149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39" Type="http://schemas.openxmlformats.org/officeDocument/2006/relationships/tags" Target="../tags/tag123.xml"/><Relationship Id="rId34" Type="http://schemas.openxmlformats.org/officeDocument/2006/relationships/tags" Target="../tags/tag118.xml"/><Relationship Id="rId50" Type="http://schemas.openxmlformats.org/officeDocument/2006/relationships/tags" Target="../tags/tag134.xml"/><Relationship Id="rId55" Type="http://schemas.openxmlformats.org/officeDocument/2006/relationships/tags" Target="../tags/tag13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6" Type="http://schemas.openxmlformats.org/officeDocument/2006/relationships/tags" Target="../tags/tag177.xml"/><Relationship Id="rId21" Type="http://schemas.openxmlformats.org/officeDocument/2006/relationships/tags" Target="../tags/tag172.xml"/><Relationship Id="rId42" Type="http://schemas.openxmlformats.org/officeDocument/2006/relationships/tags" Target="../tags/tag193.xml"/><Relationship Id="rId47" Type="http://schemas.openxmlformats.org/officeDocument/2006/relationships/tags" Target="../tags/tag198.xml"/><Relationship Id="rId63" Type="http://schemas.openxmlformats.org/officeDocument/2006/relationships/tags" Target="../tags/tag214.xml"/><Relationship Id="rId68" Type="http://schemas.openxmlformats.org/officeDocument/2006/relationships/slideMaster" Target="../slideMasters/slideMaster1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6" Type="http://schemas.openxmlformats.org/officeDocument/2006/relationships/tags" Target="../tags/tag167.xml"/><Relationship Id="rId29" Type="http://schemas.openxmlformats.org/officeDocument/2006/relationships/tags" Target="../tags/tag180.xml"/><Relationship Id="rId11" Type="http://schemas.openxmlformats.org/officeDocument/2006/relationships/tags" Target="../tags/tag162.xml"/><Relationship Id="rId24" Type="http://schemas.openxmlformats.org/officeDocument/2006/relationships/tags" Target="../tags/tag175.xml"/><Relationship Id="rId32" Type="http://schemas.openxmlformats.org/officeDocument/2006/relationships/tags" Target="../tags/tag183.xml"/><Relationship Id="rId37" Type="http://schemas.openxmlformats.org/officeDocument/2006/relationships/tags" Target="../tags/tag188.xml"/><Relationship Id="rId40" Type="http://schemas.openxmlformats.org/officeDocument/2006/relationships/tags" Target="../tags/tag191.xml"/><Relationship Id="rId45" Type="http://schemas.openxmlformats.org/officeDocument/2006/relationships/tags" Target="../tags/tag196.xml"/><Relationship Id="rId53" Type="http://schemas.openxmlformats.org/officeDocument/2006/relationships/tags" Target="../tags/tag204.xml"/><Relationship Id="rId58" Type="http://schemas.openxmlformats.org/officeDocument/2006/relationships/tags" Target="../tags/tag209.xml"/><Relationship Id="rId66" Type="http://schemas.openxmlformats.org/officeDocument/2006/relationships/tags" Target="../tags/tag217.xml"/><Relationship Id="rId5" Type="http://schemas.openxmlformats.org/officeDocument/2006/relationships/tags" Target="../tags/tag156.xml"/><Relationship Id="rId61" Type="http://schemas.openxmlformats.org/officeDocument/2006/relationships/tags" Target="../tags/tag212.xml"/><Relationship Id="rId19" Type="http://schemas.openxmlformats.org/officeDocument/2006/relationships/tags" Target="../tags/tag170.xml"/><Relationship Id="rId14" Type="http://schemas.openxmlformats.org/officeDocument/2006/relationships/tags" Target="../tags/tag165.xml"/><Relationship Id="rId22" Type="http://schemas.openxmlformats.org/officeDocument/2006/relationships/tags" Target="../tags/tag173.xml"/><Relationship Id="rId27" Type="http://schemas.openxmlformats.org/officeDocument/2006/relationships/tags" Target="../tags/tag178.xml"/><Relationship Id="rId30" Type="http://schemas.openxmlformats.org/officeDocument/2006/relationships/tags" Target="../tags/tag181.xml"/><Relationship Id="rId35" Type="http://schemas.openxmlformats.org/officeDocument/2006/relationships/tags" Target="../tags/tag186.xml"/><Relationship Id="rId43" Type="http://schemas.openxmlformats.org/officeDocument/2006/relationships/tags" Target="../tags/tag194.xml"/><Relationship Id="rId48" Type="http://schemas.openxmlformats.org/officeDocument/2006/relationships/tags" Target="../tags/tag199.xml"/><Relationship Id="rId56" Type="http://schemas.openxmlformats.org/officeDocument/2006/relationships/tags" Target="../tags/tag207.xml"/><Relationship Id="rId64" Type="http://schemas.openxmlformats.org/officeDocument/2006/relationships/tags" Target="../tags/tag215.xml"/><Relationship Id="rId69" Type="http://schemas.openxmlformats.org/officeDocument/2006/relationships/chart" Target="../charts/chart6.xml"/><Relationship Id="rId8" Type="http://schemas.openxmlformats.org/officeDocument/2006/relationships/tags" Target="../tags/tag159.xml"/><Relationship Id="rId51" Type="http://schemas.openxmlformats.org/officeDocument/2006/relationships/tags" Target="../tags/tag202.xml"/><Relationship Id="rId3" Type="http://schemas.openxmlformats.org/officeDocument/2006/relationships/tags" Target="../tags/tag154.xml"/><Relationship Id="rId12" Type="http://schemas.openxmlformats.org/officeDocument/2006/relationships/tags" Target="../tags/tag163.xml"/><Relationship Id="rId17" Type="http://schemas.openxmlformats.org/officeDocument/2006/relationships/tags" Target="../tags/tag168.xml"/><Relationship Id="rId25" Type="http://schemas.openxmlformats.org/officeDocument/2006/relationships/tags" Target="../tags/tag176.xml"/><Relationship Id="rId33" Type="http://schemas.openxmlformats.org/officeDocument/2006/relationships/tags" Target="../tags/tag184.xml"/><Relationship Id="rId38" Type="http://schemas.openxmlformats.org/officeDocument/2006/relationships/tags" Target="../tags/tag189.xml"/><Relationship Id="rId46" Type="http://schemas.openxmlformats.org/officeDocument/2006/relationships/tags" Target="../tags/tag197.xml"/><Relationship Id="rId59" Type="http://schemas.openxmlformats.org/officeDocument/2006/relationships/tags" Target="../tags/tag210.xml"/><Relationship Id="rId67" Type="http://schemas.openxmlformats.org/officeDocument/2006/relationships/tags" Target="../tags/tag218.xml"/><Relationship Id="rId20" Type="http://schemas.openxmlformats.org/officeDocument/2006/relationships/tags" Target="../tags/tag171.xml"/><Relationship Id="rId41" Type="http://schemas.openxmlformats.org/officeDocument/2006/relationships/tags" Target="../tags/tag192.xml"/><Relationship Id="rId54" Type="http://schemas.openxmlformats.org/officeDocument/2006/relationships/tags" Target="../tags/tag205.xml"/><Relationship Id="rId62" Type="http://schemas.openxmlformats.org/officeDocument/2006/relationships/tags" Target="../tags/tag21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5" Type="http://schemas.openxmlformats.org/officeDocument/2006/relationships/tags" Target="../tags/tag166.xml"/><Relationship Id="rId23" Type="http://schemas.openxmlformats.org/officeDocument/2006/relationships/tags" Target="../tags/tag174.xml"/><Relationship Id="rId28" Type="http://schemas.openxmlformats.org/officeDocument/2006/relationships/tags" Target="../tags/tag179.xml"/><Relationship Id="rId36" Type="http://schemas.openxmlformats.org/officeDocument/2006/relationships/tags" Target="../tags/tag187.xml"/><Relationship Id="rId49" Type="http://schemas.openxmlformats.org/officeDocument/2006/relationships/tags" Target="../tags/tag200.xml"/><Relationship Id="rId57" Type="http://schemas.openxmlformats.org/officeDocument/2006/relationships/tags" Target="../tags/tag208.xml"/><Relationship Id="rId10" Type="http://schemas.openxmlformats.org/officeDocument/2006/relationships/tags" Target="../tags/tag161.xml"/><Relationship Id="rId31" Type="http://schemas.openxmlformats.org/officeDocument/2006/relationships/tags" Target="../tags/tag182.xml"/><Relationship Id="rId44" Type="http://schemas.openxmlformats.org/officeDocument/2006/relationships/tags" Target="../tags/tag195.xml"/><Relationship Id="rId52" Type="http://schemas.openxmlformats.org/officeDocument/2006/relationships/tags" Target="../tags/tag203.xml"/><Relationship Id="rId60" Type="http://schemas.openxmlformats.org/officeDocument/2006/relationships/tags" Target="../tags/tag211.xml"/><Relationship Id="rId65" Type="http://schemas.openxmlformats.org/officeDocument/2006/relationships/tags" Target="../tags/tag216.xml"/><Relationship Id="rId4" Type="http://schemas.openxmlformats.org/officeDocument/2006/relationships/tags" Target="../tags/tag155.xml"/><Relationship Id="rId9" Type="http://schemas.openxmlformats.org/officeDocument/2006/relationships/tags" Target="../tags/tag160.xml"/><Relationship Id="rId13" Type="http://schemas.openxmlformats.org/officeDocument/2006/relationships/tags" Target="../tags/tag164.xml"/><Relationship Id="rId18" Type="http://schemas.openxmlformats.org/officeDocument/2006/relationships/tags" Target="../tags/tag169.xml"/><Relationship Id="rId39" Type="http://schemas.openxmlformats.org/officeDocument/2006/relationships/tags" Target="../tags/tag190.xml"/><Relationship Id="rId34" Type="http://schemas.openxmlformats.org/officeDocument/2006/relationships/tags" Target="../tags/tag185.xml"/><Relationship Id="rId50" Type="http://schemas.openxmlformats.org/officeDocument/2006/relationships/tags" Target="../tags/tag201.xml"/><Relationship Id="rId55" Type="http://schemas.openxmlformats.org/officeDocument/2006/relationships/tags" Target="../tags/tag206.xml"/></Relationships>
</file>

<file path=ppt/slideLayouts/_rels/slideLayout51.xml.rels><?xml version="1.0" encoding="UTF-8" standalone="yes"?>
<Relationships xmlns="http://schemas.openxmlformats.org/package/2006/relationships"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tags" Target="../tags/tag244.xml"/><Relationship Id="rId21" Type="http://schemas.openxmlformats.org/officeDocument/2006/relationships/tags" Target="../tags/tag239.xml"/><Relationship Id="rId34" Type="http://schemas.openxmlformats.org/officeDocument/2006/relationships/tags" Target="../tags/tag252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tags" Target="../tags/tag251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tags" Target="../tags/tag238.xml"/><Relationship Id="rId29" Type="http://schemas.openxmlformats.org/officeDocument/2006/relationships/tags" Target="../tags/tag247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tags" Target="../tags/tag242.xml"/><Relationship Id="rId32" Type="http://schemas.openxmlformats.org/officeDocument/2006/relationships/tags" Target="../tags/tag250.xml"/><Relationship Id="rId37" Type="http://schemas.openxmlformats.org/officeDocument/2006/relationships/chart" Target="../charts/chart7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tags" Target="../tags/tag246.xml"/><Relationship Id="rId36" Type="http://schemas.openxmlformats.org/officeDocument/2006/relationships/image" Target="../media/image7.png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31" Type="http://schemas.openxmlformats.org/officeDocument/2006/relationships/tags" Target="../tags/tag249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tags" Target="../tags/tag245.xml"/><Relationship Id="rId30" Type="http://schemas.openxmlformats.org/officeDocument/2006/relationships/tags" Target="../tags/tag248.xml"/><Relationship Id="rId35" Type="http://schemas.openxmlformats.org/officeDocument/2006/relationships/slideMaster" Target="../slideMasters/slideMaster1.xml"/><Relationship Id="rId8" Type="http://schemas.openxmlformats.org/officeDocument/2006/relationships/tags" Target="../tags/tag226.xml"/><Relationship Id="rId3" Type="http://schemas.openxmlformats.org/officeDocument/2006/relationships/tags" Target="../tags/tag221.xml"/></Relationships>
</file>

<file path=ppt/slideLayouts/_rels/slideLayout52.xml.rels><?xml version="1.0" encoding="UTF-8" standalone="yes"?>
<Relationships xmlns="http://schemas.openxmlformats.org/package/2006/relationships"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26" Type="http://schemas.openxmlformats.org/officeDocument/2006/relationships/tags" Target="../tags/tag278.xml"/><Relationship Id="rId3" Type="http://schemas.openxmlformats.org/officeDocument/2006/relationships/tags" Target="../tags/tag255.xml"/><Relationship Id="rId21" Type="http://schemas.openxmlformats.org/officeDocument/2006/relationships/tags" Target="../tags/tag273.xml"/><Relationship Id="rId34" Type="http://schemas.openxmlformats.org/officeDocument/2006/relationships/tags" Target="../tags/tag286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tags" Target="../tags/tag277.xml"/><Relationship Id="rId33" Type="http://schemas.openxmlformats.org/officeDocument/2006/relationships/tags" Target="../tags/tag285.xml"/><Relationship Id="rId2" Type="http://schemas.openxmlformats.org/officeDocument/2006/relationships/tags" Target="../tags/tag254.xml"/><Relationship Id="rId16" Type="http://schemas.openxmlformats.org/officeDocument/2006/relationships/tags" Target="../tags/tag268.xml"/><Relationship Id="rId20" Type="http://schemas.openxmlformats.org/officeDocument/2006/relationships/tags" Target="../tags/tag272.xml"/><Relationship Id="rId29" Type="http://schemas.openxmlformats.org/officeDocument/2006/relationships/tags" Target="../tags/tag281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1" Type="http://schemas.openxmlformats.org/officeDocument/2006/relationships/tags" Target="../tags/tag263.xml"/><Relationship Id="rId24" Type="http://schemas.openxmlformats.org/officeDocument/2006/relationships/tags" Target="../tags/tag276.xml"/><Relationship Id="rId32" Type="http://schemas.openxmlformats.org/officeDocument/2006/relationships/tags" Target="../tags/tag284.xml"/><Relationship Id="rId5" Type="http://schemas.openxmlformats.org/officeDocument/2006/relationships/tags" Target="../tags/tag257.xml"/><Relationship Id="rId15" Type="http://schemas.openxmlformats.org/officeDocument/2006/relationships/tags" Target="../tags/tag267.xml"/><Relationship Id="rId23" Type="http://schemas.openxmlformats.org/officeDocument/2006/relationships/tags" Target="../tags/tag275.xml"/><Relationship Id="rId28" Type="http://schemas.openxmlformats.org/officeDocument/2006/relationships/tags" Target="../tags/tag280.xml"/><Relationship Id="rId36" Type="http://schemas.openxmlformats.org/officeDocument/2006/relationships/chart" Target="../charts/chart8.xml"/><Relationship Id="rId10" Type="http://schemas.openxmlformats.org/officeDocument/2006/relationships/tags" Target="../tags/tag262.xml"/><Relationship Id="rId19" Type="http://schemas.openxmlformats.org/officeDocument/2006/relationships/tags" Target="../tags/tag271.xml"/><Relationship Id="rId31" Type="http://schemas.openxmlformats.org/officeDocument/2006/relationships/tags" Target="../tags/tag283.xml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tags" Target="../tags/tag266.xml"/><Relationship Id="rId22" Type="http://schemas.openxmlformats.org/officeDocument/2006/relationships/tags" Target="../tags/tag274.xml"/><Relationship Id="rId27" Type="http://schemas.openxmlformats.org/officeDocument/2006/relationships/tags" Target="../tags/tag279.xml"/><Relationship Id="rId30" Type="http://schemas.openxmlformats.org/officeDocument/2006/relationships/tags" Target="../tags/tag282.xml"/><Relationship Id="rId35" Type="http://schemas.openxmlformats.org/officeDocument/2006/relationships/slideMaster" Target="../slideMasters/slideMaster1.xml"/><Relationship Id="rId8" Type="http://schemas.openxmlformats.org/officeDocument/2006/relationships/tags" Target="../tags/tag26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7981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(One-lined tit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E1481B86-B1F6-1547-89C8-0562143D36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228" y="1229830"/>
            <a:ext cx="5287224" cy="907083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on one line</a:t>
            </a:r>
            <a:endParaRPr lang="en-CH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20E22C-B676-0D4F-8899-0B7DFE5415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105150"/>
            <a:ext cx="4286042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E8C5C09-CB18-FD46-B6CE-30A056161A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239416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39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(Two-lined tit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E9C6970-3F7B-484C-BE39-0A4E97F812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9" name="Title 9">
            <a:extLst>
              <a:ext uri="{FF2B5EF4-FFF2-40B4-BE49-F238E27FC236}">
                <a16:creationId xmlns:a16="http://schemas.microsoft.com/office/drawing/2014/main" id="{5260E95B-B08F-1B4B-9835-08FB7FE5E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228" y="1229830"/>
            <a:ext cx="5287224" cy="1533248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on </a:t>
            </a:r>
            <a:br>
              <a:rPr lang="en-US" dirty="0"/>
            </a:br>
            <a:r>
              <a:rPr lang="en-US" dirty="0"/>
              <a:t>two lines</a:t>
            </a:r>
            <a:endParaRPr lang="en-CH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D679E07-D9F7-9249-9641-50ED8E0EC1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105150"/>
            <a:ext cx="4286042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641797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 userDrawn="1">
          <p15:clr>
            <a:srgbClr val="FBAE40"/>
          </p15:clr>
        </p15:guide>
        <p15:guide id="2" orient="horz" pos="200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(No tit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059F37EE-71B0-AF4E-BDC9-5C5839AC2A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19A00F8-6C9B-AE47-9559-CA3E352618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559" y="1291743"/>
            <a:ext cx="4286042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55004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 userDrawn="1">
          <p15:clr>
            <a:srgbClr val="FBAE40"/>
          </p15:clr>
        </p15:guide>
        <p15:guide id="2" orient="horz" pos="84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(Academicon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79DFE4E4-6E53-B04B-8E93-63F5FC0B4F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rgbClr val="191919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B03FF22-42A7-434D-B799-849E398295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4559" y="1291743"/>
            <a:ext cx="4286042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rgbClr val="191919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560933D4-DF21-5141-A0C5-FE7B80A145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04288" y="3716338"/>
            <a:ext cx="2484436" cy="2484436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37711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09" userDrawn="1">
          <p15:clr>
            <a:srgbClr val="FBAE40"/>
          </p15:clr>
        </p15:guide>
        <p15:guide id="2" orient="horz" pos="2341" userDrawn="1">
          <p15:clr>
            <a:srgbClr val="FBAE40"/>
          </p15:clr>
        </p15:guide>
        <p15:guide id="3" orient="horz" pos="3906" userDrawn="1">
          <p15:clr>
            <a:srgbClr val="FBAE40"/>
          </p15:clr>
        </p15:guide>
        <p15:guide id="4" pos="717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492BC375-38D2-4D43-821A-6710012F7E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072" y="552080"/>
            <a:ext cx="9337855" cy="3726806"/>
          </a:xfrm>
          <a:prstGeom prst="rect">
            <a:avLst/>
          </a:prstGeom>
        </p:spPr>
        <p:txBody>
          <a:bodyPr/>
          <a:lstStyle>
            <a:lvl1pPr algn="ctr"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Want to highlight </a:t>
            </a:r>
            <a:br>
              <a:rPr lang="en-US" dirty="0"/>
            </a:br>
            <a:r>
              <a:rPr lang="en-US" dirty="0"/>
              <a:t>something important? </a:t>
            </a:r>
            <a:br>
              <a:rPr lang="en-US" dirty="0"/>
            </a:br>
            <a:r>
              <a:rPr lang="en-US" dirty="0"/>
              <a:t>Help it stand out on its </a:t>
            </a:r>
            <a:br>
              <a:rPr lang="en-US" dirty="0"/>
            </a:br>
            <a:r>
              <a:rPr lang="en-US" dirty="0"/>
              <a:t>own by using </a:t>
            </a:r>
            <a:br>
              <a:rPr lang="en-US" dirty="0"/>
            </a:br>
            <a:r>
              <a:rPr lang="en-US" dirty="0"/>
              <a:t>large text. 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6860515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s (2 peop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C3D9F35-528D-F340-86DD-6FF571265B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Who we are</a:t>
            </a:r>
            <a:endParaRPr lang="en-CH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09DEBA1-7B74-0C4C-9657-F2FEB9BE4F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1453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0A4DFF-E4F8-1D41-8492-4028F58080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2154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2F1F0B3-03DB-0843-9E53-1A08F2EA89C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926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325312FE-E2CB-2D4C-8CBE-4E394BFE26E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910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256109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  <p15:guide id="2" pos="3001" userDrawn="1">
          <p15:clr>
            <a:srgbClr val="FBAE40"/>
          </p15:clr>
        </p15:guide>
        <p15:guide id="3" pos="388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s (4 peop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E3B643D-A39B-C44C-8F85-15F8CDBF92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Who we are</a:t>
            </a:r>
            <a:endParaRPr lang="en-CH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05D6D56-7C6A-EC46-A39A-2ADF89279B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752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C3965AC-70A1-8840-9357-50F536119A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1453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3347F4-7215-9742-83EB-7CE730F6F7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2154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B3A08B5-B992-B94A-B71F-AA2099EC5B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2855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E92AB31-C978-B34A-86A6-49D3B169A96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8941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2B9A0D54-49FC-294F-BA3C-9C745CDA5D5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926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7B59159D-2AD0-2442-B88E-4E38F315214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910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2611EC8F-F2F1-074C-8B9D-26A8F0E3B3B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55895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13681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  <p15:guide id="2" pos="2139" userDrawn="1">
          <p15:clr>
            <a:srgbClr val="FBAE40"/>
          </p15:clr>
        </p15:guide>
        <p15:guide id="3" pos="3001" userDrawn="1">
          <p15:clr>
            <a:srgbClr val="FBAE40"/>
          </p15:clr>
        </p15:guide>
        <p15:guide id="4" pos="3863" userDrawn="1">
          <p15:clr>
            <a:srgbClr val="FBAE40"/>
          </p15:clr>
        </p15:guide>
        <p15:guide id="5" pos="474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s (6 peop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A1D05B2-17A9-AD43-8E4C-B1A7393615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Who we are</a:t>
            </a:r>
            <a:endParaRPr lang="en-CH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3D50970-D48D-D84A-B372-2C8C4749B1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752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455695-BBA1-084D-BDF0-BE999BC7FF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1453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53BD48-B502-0B4D-9228-F801B37971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2154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617D62C-0F67-D144-9904-10001BEBDD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2855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38B525C-4764-084E-BB60-BEC9557BAD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3557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973213B-424A-8644-9114-74C2B0D4D4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80051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3F2E069-CAD5-1240-9362-0DC59C77EC2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99957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CD373F81-D619-3C46-9E10-5D0F0110527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8941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3B30FDC-9683-534D-B036-BB3C066C0B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926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01EA0DF3-248A-9F43-AFD7-9283D62A3C7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910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EE3B11F6-A2DB-B34C-B54F-A8D825E9181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55895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5809D23E-9456-0140-8D6D-0665A0903E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48796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907196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55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3" pos="3001" userDrawn="1">
          <p15:clr>
            <a:srgbClr val="FBAE40"/>
          </p15:clr>
        </p15:guide>
        <p15:guide id="4" pos="3885" userDrawn="1">
          <p15:clr>
            <a:srgbClr val="FBAE40"/>
          </p15:clr>
        </p15:guide>
        <p15:guide id="5" pos="4747" userDrawn="1">
          <p15:clr>
            <a:srgbClr val="FBAE40"/>
          </p15:clr>
        </p15:guide>
        <p15:guide id="6" pos="5632" userDrawn="1">
          <p15:clr>
            <a:srgbClr val="FBAE40"/>
          </p15:clr>
        </p15:guide>
        <p15:guide id="7" orient="horz" pos="263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s (8 peop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B5795683-35E8-BE4D-B48F-6C8CFBAFF4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Who we are</a:t>
            </a:r>
            <a:endParaRPr lang="en-CH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4B27818-EC9C-4143-A400-1F6EDC0C63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752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00CD801-8149-1D4F-AC69-38C3B3EC8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1453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F0744CC-3064-D441-844E-CDF49E0489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2154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1E3334B-0B30-0E48-931A-23EDF35318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02855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40A678C-8084-BC40-A814-C549EF5C8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3557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7983CBA3-E25B-3C42-A60B-BCB98A774E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80051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EECB6884-640B-C04A-B09D-8504363D1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99957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CD7D5FFD-B321-1B4A-AE87-C8F77911204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8941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0C7B4C7-E8C6-444C-A7C4-1F0D8D86AF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926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E023A874-F00C-F644-B26F-5E0D5296949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9105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1BB7107E-71D9-FD4C-943A-E32CC6FD8E1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558950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A74BE1B6-DD00-064D-8F66-45419691540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48796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FA2F356-2EFC-D448-B0F5-815F11DEAA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4920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9" name="Picture Placeholder 2">
            <a:extLst>
              <a:ext uri="{FF2B5EF4-FFF2-40B4-BE49-F238E27FC236}">
                <a16:creationId xmlns:a16="http://schemas.microsoft.com/office/drawing/2014/main" id="{C35B9AA5-0E66-C248-BF18-125A86D15FA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4439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01A70DD-6D10-B049-953C-D1B06CAF08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0897" y="4154651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C588256B-D091-5F4A-A164-46414E65C46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290416" y="2605890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31688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6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2116" userDrawn="1">
          <p15:clr>
            <a:srgbClr val="FBAE40"/>
          </p15:clr>
        </p15:guide>
        <p15:guide id="5" pos="2910" userDrawn="1">
          <p15:clr>
            <a:srgbClr val="FBAE40"/>
          </p15:clr>
        </p15:guide>
        <p15:guide id="6" pos="3863" userDrawn="1">
          <p15:clr>
            <a:srgbClr val="FBAE40"/>
          </p15:clr>
        </p15:guide>
        <p15:guide id="7" pos="4747" userDrawn="1">
          <p15:clr>
            <a:srgbClr val="FBAE40"/>
          </p15:clr>
        </p15:guide>
        <p15:guide id="8" pos="5609" userDrawn="1">
          <p15:clr>
            <a:srgbClr val="FBAE40"/>
          </p15:clr>
        </p15:guide>
        <p15:guide id="9" pos="649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s (16 peopl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4527E95A-CDA8-204B-8C3B-EFBF21838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Who we are</a:t>
            </a:r>
            <a:endParaRPr lang="en-CH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7EDE56F-3D14-6645-A98C-6E01C1477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10147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B74BDDC-3CDB-DA44-BF30-E9EAA33BB1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0848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35C24E0-6D31-8344-B0E7-3820AC99B4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71549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DC0F78F2-7487-A54B-A8B2-41A375FDDD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52250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4519A76-5951-A046-91AD-364266376C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32952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48E6E9E2-F823-B441-B56A-C1A8D072EF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9446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87E98A27-A3A5-2443-A443-4E34D9F871D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948965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12F7F8E9-71B0-B749-AAAC-7DD8B6793A9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38810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76" name="Picture Placeholder 2">
            <a:extLst>
              <a:ext uri="{FF2B5EF4-FFF2-40B4-BE49-F238E27FC236}">
                <a16:creationId xmlns:a16="http://schemas.microsoft.com/office/drawing/2014/main" id="{FAE0604B-7F06-5646-B9D1-45CCE47DF81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28655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77" name="Picture Placeholder 2">
            <a:extLst>
              <a:ext uri="{FF2B5EF4-FFF2-40B4-BE49-F238E27FC236}">
                <a16:creationId xmlns:a16="http://schemas.microsoft.com/office/drawing/2014/main" id="{3AB45D0A-F985-F84E-939B-3081619BF45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18500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78" name="Picture Placeholder 2">
            <a:extLst>
              <a:ext uri="{FF2B5EF4-FFF2-40B4-BE49-F238E27FC236}">
                <a16:creationId xmlns:a16="http://schemas.microsoft.com/office/drawing/2014/main" id="{2A0DA573-B56F-2F40-9E66-FB08DEBFD4A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508345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79" name="Picture Placeholder 2">
            <a:extLst>
              <a:ext uri="{FF2B5EF4-FFF2-40B4-BE49-F238E27FC236}">
                <a16:creationId xmlns:a16="http://schemas.microsoft.com/office/drawing/2014/main" id="{992F8CB2-030B-B64C-BA6A-14B8970181C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898191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1CE5B950-E910-CE46-B54E-1394CA360F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4315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1" name="Picture Placeholder 2">
            <a:extLst>
              <a:ext uri="{FF2B5EF4-FFF2-40B4-BE49-F238E27FC236}">
                <a16:creationId xmlns:a16="http://schemas.microsoft.com/office/drawing/2014/main" id="{575497B3-1A57-A449-98FA-712C0CD8C71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3834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FF258200-EE03-044F-A503-4BFC57616C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20292" y="3164837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3" name="Picture Placeholder 2">
            <a:extLst>
              <a:ext uri="{FF2B5EF4-FFF2-40B4-BE49-F238E27FC236}">
                <a16:creationId xmlns:a16="http://schemas.microsoft.com/office/drawing/2014/main" id="{D6D6ECF9-CFEE-254F-ACA0-7F4E0A95C6E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239811" y="1616076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5C51DBA0-47B0-AB45-8A7B-957DEA8985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0147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B8C3D358-5717-CE4A-A52B-E590210C00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90848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A54D0CE9-FF18-3D46-935E-48C5148E0E3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71549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A1F76BF2-2AAD-6448-B4F7-204DAA533A7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452250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CE2DDD2-868F-1745-85D6-43F3DEA323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32952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F0965F3B-BAC5-B14A-B8BB-4BCE4BE3D87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929446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90" name="Picture Placeholder 2">
            <a:extLst>
              <a:ext uri="{FF2B5EF4-FFF2-40B4-BE49-F238E27FC236}">
                <a16:creationId xmlns:a16="http://schemas.microsoft.com/office/drawing/2014/main" id="{79EC9426-69B5-AE49-8A16-3B700BB521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948965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1" name="Picture Placeholder 2">
            <a:extLst>
              <a:ext uri="{FF2B5EF4-FFF2-40B4-BE49-F238E27FC236}">
                <a16:creationId xmlns:a16="http://schemas.microsoft.com/office/drawing/2014/main" id="{7F743E09-8C4C-BF42-8316-E5F75D138A9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38810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2" name="Picture Placeholder 2">
            <a:extLst>
              <a:ext uri="{FF2B5EF4-FFF2-40B4-BE49-F238E27FC236}">
                <a16:creationId xmlns:a16="http://schemas.microsoft.com/office/drawing/2014/main" id="{4AA5F3BA-4D35-8F48-AFDC-6DA0AF48C0D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728655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C519EAD1-8D56-8B4C-86C4-4D21E418C32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118500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4" name="Picture Placeholder 2">
            <a:extLst>
              <a:ext uri="{FF2B5EF4-FFF2-40B4-BE49-F238E27FC236}">
                <a16:creationId xmlns:a16="http://schemas.microsoft.com/office/drawing/2014/main" id="{8E71C457-2A88-6C44-B8D8-433E9F471E5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7508345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5" name="Picture Placeholder 2">
            <a:extLst>
              <a:ext uri="{FF2B5EF4-FFF2-40B4-BE49-F238E27FC236}">
                <a16:creationId xmlns:a16="http://schemas.microsoft.com/office/drawing/2014/main" id="{C11CB0CF-3285-094B-B822-C3743050057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8898191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5535C1CC-D64B-0E49-A95C-E23D3FBD86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4315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97" name="Picture Placeholder 2">
            <a:extLst>
              <a:ext uri="{FF2B5EF4-FFF2-40B4-BE49-F238E27FC236}">
                <a16:creationId xmlns:a16="http://schemas.microsoft.com/office/drawing/2014/main" id="{7C4F6A57-77FA-1D43-B1C5-C62237D38AF5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573834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A4C589A2-EB2C-7945-9704-68968BE289B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20292" y="5683365"/>
            <a:ext cx="1329980" cy="4978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  <a:latin typeface="EF Circular Book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First Last Name</a:t>
            </a:r>
            <a:br>
              <a:rPr lang="en-US" dirty="0"/>
            </a:br>
            <a:r>
              <a:rPr lang="en-US" dirty="0"/>
              <a:t>Title</a:t>
            </a:r>
            <a:endParaRPr lang="en-CH" dirty="0"/>
          </a:p>
        </p:txBody>
      </p:sp>
      <p:sp>
        <p:nvSpPr>
          <p:cNvPr id="99" name="Picture Placeholder 2">
            <a:extLst>
              <a:ext uri="{FF2B5EF4-FFF2-40B4-BE49-F238E27FC236}">
                <a16:creationId xmlns:a16="http://schemas.microsoft.com/office/drawing/2014/main" id="{5EC9072D-57A5-B54D-BFEE-812028E15A3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0239811" y="4134604"/>
            <a:ext cx="1258248" cy="125824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225332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38" userDrawn="1">
          <p15:clr>
            <a:srgbClr val="FBAE40"/>
          </p15:clr>
        </p15:guide>
        <p15:guide id="2" orient="horz" pos="3317" userDrawn="1">
          <p15:clr>
            <a:srgbClr val="FBAE40"/>
          </p15:clr>
        </p15:guide>
        <p15:guide id="3" pos="370" userDrawn="1">
          <p15:clr>
            <a:srgbClr val="FBAE40"/>
          </p15:clr>
        </p15:guide>
        <p15:guide id="4" pos="1232" userDrawn="1">
          <p15:clr>
            <a:srgbClr val="FBAE40"/>
          </p15:clr>
        </p15:guide>
        <p15:guide id="5" pos="2116" userDrawn="1">
          <p15:clr>
            <a:srgbClr val="FBAE40"/>
          </p15:clr>
        </p15:guide>
        <p15:guide id="6" pos="3001" userDrawn="1">
          <p15:clr>
            <a:srgbClr val="FBAE40"/>
          </p15:clr>
        </p15:guide>
        <p15:guide id="7" pos="3863" userDrawn="1">
          <p15:clr>
            <a:srgbClr val="FBAE40"/>
          </p15:clr>
        </p15:guide>
        <p15:guide id="8" pos="4747" userDrawn="1">
          <p15:clr>
            <a:srgbClr val="FBAE40"/>
          </p15:clr>
        </p15:guide>
        <p15:guide id="9" pos="5609" userDrawn="1">
          <p15:clr>
            <a:srgbClr val="FBAE40"/>
          </p15:clr>
        </p15:guide>
        <p15:guide id="10" pos="6494" userDrawn="1">
          <p15:clr>
            <a:srgbClr val="FBAE40"/>
          </p15:clr>
        </p15:guide>
        <p15:guide id="11" pos="7469" userDrawn="1">
          <p15:clr>
            <a:srgbClr val="FBAE40"/>
          </p15:clr>
        </p15:guide>
        <p15:guide id="12" orient="horz" pos="216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-lined title cov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9FD5401-2D9E-5E43-8B57-C3C7EF391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411" y="1259647"/>
            <a:ext cx="5608590" cy="907083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rgbClr val="191919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goes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908430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DBB8E99-E043-144F-BDFB-9BF47F54C7C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E1EB863-CD34-594B-8A61-B5C0EBE1CC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91" y="65704"/>
            <a:ext cx="1743357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008452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" userDrawn="1">
          <p15:clr>
            <a:srgbClr val="FBAE40"/>
          </p15:clr>
        </p15:guide>
        <p15:guide id="2" pos="9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35FF8DB8-F0FB-7742-9538-EEAAEF193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2FA1EC-583B-834F-B0EB-C282F9F84C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2905097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quare images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49F35F-B842-C44B-8F88-DF8CEF861CB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87375" y="2101850"/>
            <a:ext cx="2663825" cy="2663825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F8237FD-7907-224E-805C-818099F6E3A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71850" y="2097087"/>
            <a:ext cx="2663825" cy="2663825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34AE038-059D-B648-AD55-4B7C8AAB9D9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56325" y="2097086"/>
            <a:ext cx="2663825" cy="266382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6C2FC75-EAF3-9546-8D3F-8E5D4560F0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940800" y="2115612"/>
            <a:ext cx="2663825" cy="2663825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367BE55-E586-EF44-A953-1FDB0BB766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182" y="2162483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69A6F55-ADBA-7E40-AB30-74AD522EE1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6950" y="2161892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5BB2043-A3AF-BF4D-896D-EFAC9BCF60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9109" y="2165478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DCCBBA5-5EBA-794A-A1DB-8C2180A997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3827" y="2164784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86050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953" userDrawn="1">
          <p15:clr>
            <a:srgbClr val="FBAE40"/>
          </p15:clr>
        </p15:guide>
        <p15:guide id="3" pos="2207" userDrawn="1">
          <p15:clr>
            <a:srgbClr val="FBAE40"/>
          </p15:clr>
        </p15:guide>
        <p15:guide id="4" pos="461" userDrawn="1">
          <p15:clr>
            <a:srgbClr val="FBAE40"/>
          </p15:clr>
        </p15:guide>
        <p15:guide id="5" pos="572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quare images A NO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49F35F-B842-C44B-8F88-DF8CEF861CB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87375" y="2101850"/>
            <a:ext cx="2663825" cy="2663825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F8237FD-7907-224E-805C-818099F6E3A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71850" y="2097087"/>
            <a:ext cx="2663825" cy="2663825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34AE038-059D-B648-AD55-4B7C8AAB9D9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56325" y="2097086"/>
            <a:ext cx="2663825" cy="266382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6C2FC75-EAF3-9546-8D3F-8E5D4560F0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940800" y="2115612"/>
            <a:ext cx="2663825" cy="2663825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367BE55-E586-EF44-A953-1FDB0BB7661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182" y="2162483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69A6F55-ADBA-7E40-AB30-74AD522EE1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16950" y="2161892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5BB2043-A3AF-BF4D-896D-EFAC9BCF60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9109" y="2165478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DCCBBA5-5EBA-794A-A1DB-8C2180A997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3827" y="2164784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155619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953" userDrawn="1">
          <p15:clr>
            <a:srgbClr val="FBAE40"/>
          </p15:clr>
        </p15:guide>
        <p15:guide id="3" pos="2207" userDrawn="1">
          <p15:clr>
            <a:srgbClr val="FBAE40"/>
          </p15:clr>
        </p15:guide>
        <p15:guide id="4" pos="461" userDrawn="1">
          <p15:clr>
            <a:srgbClr val="FBAE40"/>
          </p15:clr>
        </p15:guide>
        <p15:guide id="5" pos="572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quare images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6FEA48B3-F40C-E54F-8B84-4F489323A08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87375" y="2101850"/>
            <a:ext cx="2663825" cy="2663825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1475268C-A89C-3340-8234-2DB688AF803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940800" y="2115612"/>
            <a:ext cx="2663825" cy="2663825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3C303B62-6EE7-EB4D-B201-2A6A1162A2F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56767" y="2097087"/>
            <a:ext cx="2663825" cy="266382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1CA43DA-70C9-1C45-89FD-A8EAB3EDC07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32513" y="2097086"/>
            <a:ext cx="2663825" cy="2663825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353C02E-03F3-3340-B366-E7F4CC4F12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7375" y="2100622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43E2EF0-B1A0-6945-B425-FAD93F99E9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56767" y="2094321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671371E-376A-7847-9EEB-D5C02CA65B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2513" y="2094320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CE20BE6-A196-E54B-9911-C8CF7E5C61E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40800" y="2115612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6511971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quare images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74CF2021-FFBB-F94B-91AF-E20DED12002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990725" y="1404596"/>
            <a:ext cx="4033838" cy="406717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3594B249-6759-2C4F-9426-C7348696B58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32513" y="1404596"/>
            <a:ext cx="4033838" cy="4067174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E1E1D63-022E-0B42-9FF5-B6857B0196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2547" y="1457859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3B8492F-8E1A-F347-9018-EF7D8C3AA4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046924" y="1457859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72174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BAE40"/>
          </p15:clr>
        </p15:guide>
        <p15:guide id="2" pos="3953" userDrawn="1">
          <p15:clr>
            <a:srgbClr val="FBAE40"/>
          </p15:clr>
        </p15:guide>
        <p15:guide id="3" pos="123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quare images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6B3659D-2AC4-9C46-9285-B5C2269A33F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990725" y="1404596"/>
            <a:ext cx="4033838" cy="406717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FD8CE79-711B-EA40-8B41-B960DE03995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32513" y="1404596"/>
            <a:ext cx="4033838" cy="4067174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6C579E0-1883-7D46-9A81-47F2177577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90725" y="1404596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8342D52-444A-C440-961C-FA30B9967AA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42264" y="1404596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1359724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ndscape images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DF7D388-B2F2-F548-95E5-941AF326F0F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32509" y="1407168"/>
            <a:ext cx="5437187" cy="406717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pic>
        <p:nvPicPr>
          <p:cNvPr id="6" name="Picture 5" descr="A person standing in front of a beach&#10;&#10;Description automatically generated">
            <a:extLst>
              <a:ext uri="{FF2B5EF4-FFF2-40B4-BE49-F238E27FC236}">
                <a16:creationId xmlns:a16="http://schemas.microsoft.com/office/drawing/2014/main" id="{251D60DE-0B15-DD49-AF13-4AEC13F782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75" y="1402425"/>
            <a:ext cx="5437188" cy="40766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9ADD259-0FAF-5A4A-9FB5-F8ADD0AB948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2514" y="1401977"/>
            <a:ext cx="5472114" cy="4080085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350C497-34C6-DC45-BF85-C25E4F5C1BB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2547" y="1457859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6D1FAA6F-475F-1D4B-AE69-738F2684CE5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87371" y="1411911"/>
            <a:ext cx="5437187" cy="406717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949F0D2-46D4-7B4E-A382-320A313B5F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4626" y="1457858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173554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461" userDrawn="1">
          <p15:clr>
            <a:srgbClr val="FBAE40"/>
          </p15:clr>
        </p15:guide>
        <p15:guide id="3" orient="horz" pos="95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ndscape images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0CF42CF-D061-D84B-9762-B9A26A8E512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87371" y="1411911"/>
            <a:ext cx="5437187" cy="406717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B8B91090-9135-C14D-95E6-83BE79BE681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32509" y="1407168"/>
            <a:ext cx="5437187" cy="4067174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85176E8-FCB1-884B-A7E0-F2723F81B7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7371" y="1407168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3B57331-7ED0-4C4B-ABBD-1EDBDDE9D5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2509" y="1407168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9896896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lage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39077F-5320-3C48-A4A4-CABC4D84A98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992311" y="908049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9E3A27CF-7FF4-D543-8409-E475FF56672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32512" y="908049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8625FCD8-E7E9-0B47-B605-7F2747ECF35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992311" y="3675767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EAD0E7E5-BD19-9D4E-B041-0AEEBB2FC98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32512" y="3675767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E1CA528-621B-1940-A0F5-D6C84AEC35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4819" y="955971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F9650F5-A7D9-E84A-AAAF-EF0B69B6E1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047995" y="955971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961B1DC-644D-1D48-B474-3ABA9601F6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84819" y="3731255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026C46D-65BC-ED42-BF92-975F080FF03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47995" y="3731255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677647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45" userDrawn="1">
          <p15:clr>
            <a:srgbClr val="FBAE40"/>
          </p15:clr>
        </p15:guide>
        <p15:guide id="2" orient="horz" pos="64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38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lined title cover NO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9FD5401-2D9E-5E43-8B57-C3C7EF391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411" y="1259647"/>
            <a:ext cx="5608590" cy="907083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rgbClr val="191919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goes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7277081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collage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E3090590-A2E2-F540-BA01-A98A591918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992311" y="908049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8335E42C-C87D-5C4F-A68B-FA1FCE492D5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32512" y="908049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A029A2BA-F418-3441-AFE6-0AC38CABF0C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992311" y="3675767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7CADC589-A866-1C49-BAA8-3F150394DF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32512" y="3675767"/>
            <a:ext cx="4032251" cy="2656541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7FCD193-D596-CB43-A9A8-905D96AE73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92311" y="908049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E9ABB-F55A-EE4E-97E5-AFEFB5E646F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2512" y="908048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9F7E4CD-43D4-6744-B91C-1714ECDBE04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92311" y="3675767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4582C1-659F-2940-9B29-D036B8BC001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2512" y="3675766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4008561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 portrait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A969B40-ABA7-C04D-B0DE-5E24AD5704A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32513" y="1790080"/>
            <a:ext cx="2654389" cy="358452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5572005-52F4-9843-A01E-47A809E806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363911" y="1790080"/>
            <a:ext cx="2654389" cy="3584522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27D3478-4BD4-134E-8BA0-BD0EF7C8BC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92695" y="1854328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C3FEE49-2497-F441-B0F1-297BB33CCD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0126" y="1854327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110498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 userDrawn="1">
          <p15:clr>
            <a:srgbClr val="FBAE40"/>
          </p15:clr>
        </p15:guide>
        <p15:guide id="2" pos="2207" userDrawn="1">
          <p15:clr>
            <a:srgbClr val="FBAE40"/>
          </p15:clr>
        </p15:guide>
        <p15:guide id="3" pos="395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image portrait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A969B40-ABA7-C04D-B0DE-5E24AD5704A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32513" y="1790080"/>
            <a:ext cx="2654389" cy="358452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5572005-52F4-9843-A01E-47A809E806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363911" y="1790080"/>
            <a:ext cx="2654389" cy="3584522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4542ED-61EF-AF49-B1E4-C31ED80B6EFA}"/>
              </a:ext>
            </a:extLst>
          </p:cNvPr>
          <p:cNvSpPr txBox="1"/>
          <p:nvPr userDrawn="1"/>
        </p:nvSpPr>
        <p:spPr>
          <a:xfrm>
            <a:off x="3409773" y="1851342"/>
            <a:ext cx="948906" cy="230832"/>
          </a:xfrm>
          <a:prstGeom prst="rect">
            <a:avLst/>
          </a:prstGeom>
          <a:solidFill>
            <a:schemeClr val="bg1"/>
          </a:solidFill>
          <a:ln w="114300">
            <a:solidFill>
              <a:schemeClr val="bg1"/>
            </a:solidFill>
            <a:miter lim="800000"/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EF Circular Book" panose="020B0604020101020102" pitchFamily="34" charset="77"/>
                <a:cs typeface="EF Circular Book" panose="020B0604020101020102" pitchFamily="34" charset="77"/>
              </a:rPr>
              <a:t>Caption here</a:t>
            </a:r>
            <a:endParaRPr lang="en-US" sz="900" dirty="0"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F7EBC5-CF90-D74A-AF81-3D9D4B42DCF1}"/>
              </a:ext>
            </a:extLst>
          </p:cNvPr>
          <p:cNvSpPr txBox="1"/>
          <p:nvPr userDrawn="1"/>
        </p:nvSpPr>
        <p:spPr>
          <a:xfrm>
            <a:off x="6187095" y="1853619"/>
            <a:ext cx="948906" cy="230832"/>
          </a:xfrm>
          <a:prstGeom prst="rect">
            <a:avLst/>
          </a:prstGeom>
          <a:solidFill>
            <a:schemeClr val="bg1"/>
          </a:solidFill>
          <a:ln w="114300">
            <a:solidFill>
              <a:schemeClr val="bg1"/>
            </a:solidFill>
            <a:miter lim="800000"/>
          </a:ln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EF Circular Book" panose="020B0604020101020102" pitchFamily="34" charset="77"/>
                <a:cs typeface="EF Circular Book" panose="020B0604020101020102" pitchFamily="34" charset="77"/>
              </a:rPr>
              <a:t>Caption here</a:t>
            </a:r>
            <a:endParaRPr lang="en-US" sz="900" dirty="0"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90298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2207">
          <p15:clr>
            <a:srgbClr val="FBAE40"/>
          </p15:clr>
        </p15:guide>
        <p15:guide id="3" pos="395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portrait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BAD243A-B0F4-3747-8613-CD7CA1A568C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950236" y="1789166"/>
            <a:ext cx="2654389" cy="358452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94EA483-E5D0-884D-8AC0-D9644BEF54D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34101" y="1789166"/>
            <a:ext cx="2654389" cy="3584522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A8B0FB4-6EB9-F147-A1AF-E789C008189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67265" y="1792590"/>
            <a:ext cx="2654389" cy="3584522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0E5DE8CB-D92C-F24E-B144-799A0BC361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98663" y="1792590"/>
            <a:ext cx="2654389" cy="3584522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20574C-DF37-8C4F-8531-42EAE27140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7558" y="1854467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065ED9A-79E3-0B4E-BCE9-EC4D775E691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15894" y="1854467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29EDE96-AA00-244F-A81A-8811BEF5A9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92695" y="1854466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53D8EC3-6B9C-0B42-A34E-92468484F7A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3508" y="1854465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6505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85" userDrawn="1">
          <p15:clr>
            <a:srgbClr val="FBAE40"/>
          </p15:clr>
        </p15:guide>
        <p15:guide id="2" pos="5541" userDrawn="1">
          <p15:clr>
            <a:srgbClr val="FBAE40"/>
          </p15:clr>
        </p15:guide>
        <p15:guide id="3" pos="7310" userDrawn="1">
          <p15:clr>
            <a:srgbClr val="FBAE40"/>
          </p15:clr>
        </p15:guide>
        <p15:guide id="4" pos="3795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portrait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C751ED4-E529-E844-9136-98DB191AA35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950236" y="1789166"/>
            <a:ext cx="2654389" cy="358452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BA761DC-D1A3-F447-8E63-43A439235B8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34101" y="1789166"/>
            <a:ext cx="2654389" cy="3584522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81DB7B-D01D-7A45-A29F-5651C0161D0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67265" y="1792590"/>
            <a:ext cx="2654389" cy="3584522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0FE40FC7-292B-FC44-ACA2-4DD10843CCB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98663" y="1792590"/>
            <a:ext cx="2654389" cy="3584522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094C1C4-C91E-884F-9B7C-8658475105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375" y="1792590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A2418A0-86ED-7E44-89CF-EC84429204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57563" y="1792589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259F421-61B4-7F42-B707-99AAE1217A5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4101" y="1792590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0FE6E61-DEC6-EE4B-A50B-69DED8517D7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904289" y="1792589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5482085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rge portrait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24FF0E2-B448-4A4F-83CC-51B7D295D20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132513" y="908050"/>
            <a:ext cx="4032250" cy="536575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F784F190-9F5F-7446-91F0-2EB487BB228A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992313" y="908050"/>
            <a:ext cx="4032250" cy="536575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C84C4D-E9A0-DE4A-9B55-C484F135FB1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92808" y="957253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69FA9FB-B743-9142-BF8F-93817AF5EA1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044780" y="957252"/>
            <a:ext cx="1271730" cy="208349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Tx/>
              <a:buNone/>
              <a:defRPr sz="9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78589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  <p15:guide id="2" pos="1255" userDrawn="1">
          <p15:clr>
            <a:srgbClr val="FBAE40"/>
          </p15:clr>
        </p15:guide>
        <p15:guide id="3" pos="3863" userDrawn="1">
          <p15:clr>
            <a:srgbClr val="FBAE40"/>
          </p15:clr>
        </p15:guide>
        <p15:guide id="4" pos="3795" userDrawn="1">
          <p15:clr>
            <a:srgbClr val="FBAE40"/>
          </p15:clr>
        </p15:guide>
        <p15:guide id="5" orient="horz" pos="3952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rge portrait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1E126B5-D060-A94C-B4BA-60D537277DB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132513" y="908050"/>
            <a:ext cx="4032250" cy="536575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C9BFE2A-6846-A84D-AB1F-A5C59AD7D393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992313" y="908050"/>
            <a:ext cx="4032250" cy="536575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C9D54F-BC85-BD48-917A-E549AF53CF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92313" y="908050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50E2644-ADBF-CB40-A370-52140A470E8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2512" y="908050"/>
            <a:ext cx="924846" cy="320257"/>
          </a:xfrm>
          <a:prstGeom prst="rect">
            <a:avLst/>
          </a:prstGeom>
          <a:solidFill>
            <a:schemeClr val="bg1"/>
          </a:solidFill>
        </p:spPr>
        <p:txBody>
          <a:bodyPr wrap="square" lIns="90000" tIns="90000" rIns="90000" bIns="90000" anchor="ctr" anchorCtr="0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900" b="1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  <a:lvl2pPr marL="457200" indent="0">
              <a:buFontTx/>
              <a:buNone/>
              <a:defRPr sz="1200" baseline="0">
                <a:latin typeface="EF Circular Bold" panose="020B0604020101020102" pitchFamily="34" charset="77"/>
              </a:defRPr>
            </a:lvl2pPr>
            <a:lvl3pPr marL="914400" indent="0">
              <a:buFontTx/>
              <a:buNone/>
              <a:defRPr sz="1200" baseline="0">
                <a:latin typeface="EF Circular Bold" panose="020B0604020101020102" pitchFamily="34" charset="77"/>
              </a:defRPr>
            </a:lvl3pPr>
            <a:lvl4pPr marL="1371600" indent="0">
              <a:buFontTx/>
              <a:buNone/>
              <a:defRPr sz="1200" baseline="0">
                <a:latin typeface="EF Circular Bold" panose="020B0604020101020102" pitchFamily="34" charset="77"/>
              </a:defRPr>
            </a:lvl4pPr>
            <a:lvl5pPr marL="1828800" indent="0">
              <a:buFontTx/>
              <a:buNone/>
              <a:defRPr sz="1200" baseline="0">
                <a:latin typeface="EF Circular Bold" panose="020B0604020101020102" pitchFamily="34" charset="77"/>
              </a:defRPr>
            </a:lvl5pPr>
          </a:lstStyle>
          <a:p>
            <a:pPr lvl="0"/>
            <a:r>
              <a:rPr lang="en-US" dirty="0"/>
              <a:t>Caption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796743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/ right image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B23F24A-B6A2-D841-84D0-27470CBBC6C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764088" y="898902"/>
            <a:ext cx="7427911" cy="595909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7675F7DC-ADF9-5E4B-A598-D6576CB55F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5EAA271-E300-934C-906E-1FFCCCBC8C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11" y="1286235"/>
            <a:ext cx="3520121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252228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 userDrawn="1">
          <p15:clr>
            <a:srgbClr val="FBAE40"/>
          </p15:clr>
        </p15:guide>
        <p15:guide id="2" orient="horz" pos="845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/ right image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4E62136-C7D7-5242-93B6-959310BAA4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A7992563-A592-AE41-8FC7-727BBC388C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1511" y="1286235"/>
            <a:ext cx="3520121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692ED81-9BE4-2841-88E5-359E12A96943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764088" y="898902"/>
            <a:ext cx="6840537" cy="537489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871076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 userDrawn="1">
          <p15:clr>
            <a:srgbClr val="FBAE40"/>
          </p15:clr>
        </p15:guide>
        <p15:guide id="2" pos="7310" userDrawn="1">
          <p15:clr>
            <a:srgbClr val="FBAE40"/>
          </p15:clr>
        </p15:guide>
        <p15:guide id="3" orient="horz" pos="3952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/ 2 portrait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9C04345A-7BD7-AF46-AC01-941C63BACA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5285285-91CC-F24B-A8D6-302EEE330B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6775" y="1280728"/>
            <a:ext cx="1942200" cy="32527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.</a:t>
            </a:r>
            <a:endParaRPr lang="en-CH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9700D528-25B9-1945-8130-8D44C966A50C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59150" y="898902"/>
            <a:ext cx="4068763" cy="537489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99945499-157D-5F45-AED7-6B268705234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535863" y="898902"/>
            <a:ext cx="4068763" cy="5374898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516842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6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pos="4679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pos="731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-lined title cov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F221E8D7-59F8-414C-82D5-DF88DB06C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411" y="1259647"/>
            <a:ext cx="6410346" cy="1910936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and continues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7219176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/ right content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64B68D42-32A8-8641-8CDE-8852A2ED8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251CD30-B585-4147-A2E8-BCB30516E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3454" y="1278978"/>
            <a:ext cx="3520121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C4A19BA-1CC4-2043-B802-7D4A26EAE3F3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915086"/>
            <a:ext cx="7427913" cy="594291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268750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  <p15:guide id="2" pos="4679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/ right content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636F4C47-31BE-D545-98F7-6CAC170BC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rgbClr val="009EEB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18BF9257-41E2-7849-B8ED-2E428381F2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3454" y="1278978"/>
            <a:ext cx="3520121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, </a:t>
            </a:r>
            <a:r>
              <a:rPr lang="en-US" dirty="0" err="1"/>
              <a:t>corerci</a:t>
            </a:r>
            <a:r>
              <a:rPr lang="en-US" dirty="0"/>
              <a:t> </a:t>
            </a:r>
            <a:r>
              <a:rPr lang="en-US" dirty="0" err="1"/>
              <a:t>mporit</a:t>
            </a:r>
            <a:r>
              <a:rPr lang="en-US" dirty="0"/>
              <a:t>,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exceped</a:t>
            </a:r>
            <a:r>
              <a:rPr lang="en-US" dirty="0"/>
              <a:t> </a:t>
            </a:r>
            <a:r>
              <a:rPr lang="en-US" dirty="0" err="1"/>
              <a:t>mincto</a:t>
            </a:r>
            <a:r>
              <a:rPr lang="en-US" dirty="0"/>
              <a:t> </a:t>
            </a:r>
            <a:r>
              <a:rPr lang="en-US" dirty="0" err="1"/>
              <a:t>conseque</a:t>
            </a:r>
            <a:r>
              <a:rPr lang="en-US" dirty="0"/>
              <a:t> </a:t>
            </a:r>
            <a:r>
              <a:rPr lang="en-US" dirty="0" err="1"/>
              <a:t>ipis</a:t>
            </a:r>
            <a:r>
              <a:rPr lang="en-US" dirty="0"/>
              <a:t> </a:t>
            </a:r>
            <a:r>
              <a:rPr lang="en-US" dirty="0" err="1"/>
              <a:t>vendanis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poressuntur</a:t>
            </a:r>
            <a:r>
              <a:rPr lang="en-US" dirty="0"/>
              <a:t> </a:t>
            </a:r>
            <a:r>
              <a:rPr lang="en-US" dirty="0" err="1"/>
              <a:t>simus</a:t>
            </a:r>
            <a:r>
              <a:rPr lang="en-US" dirty="0"/>
              <a:t> </a:t>
            </a:r>
            <a:r>
              <a:rPr lang="en-US" dirty="0" err="1"/>
              <a:t>resciis</a:t>
            </a:r>
            <a:r>
              <a:rPr lang="en-US" dirty="0"/>
              <a:t> ant.</a:t>
            </a:r>
            <a:endParaRPr lang="en-CH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5F9EB18-00FF-1D44-B0EB-639880A8968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898902"/>
            <a:ext cx="7427913" cy="537489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58275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79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eft images  / right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226AF38-3FE5-0543-9A73-4A253DD8D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Add title here</a:t>
            </a:r>
            <a:endParaRPr lang="en-CH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4C4DBE4-6547-9E42-B634-3426A52A77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27029" y="1278977"/>
            <a:ext cx="1782309" cy="487507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t </a:t>
            </a:r>
            <a:r>
              <a:rPr lang="en-US" dirty="0" err="1"/>
              <a:t>excepudi</a:t>
            </a:r>
            <a:r>
              <a:rPr lang="en-US" dirty="0"/>
              <a:t> </a:t>
            </a:r>
            <a:r>
              <a:rPr lang="en-US" dirty="0" err="1"/>
              <a:t>commole</a:t>
            </a:r>
            <a:r>
              <a:rPr lang="en-US" dirty="0"/>
              <a:t> </a:t>
            </a:r>
            <a:r>
              <a:rPr lang="en-US" dirty="0" err="1"/>
              <a:t>necusci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event </a:t>
            </a:r>
            <a:r>
              <a:rPr lang="en-US" dirty="0" err="1"/>
              <a:t>lat</a:t>
            </a:r>
            <a:r>
              <a:rPr lang="en-US" dirty="0"/>
              <a:t> </a:t>
            </a:r>
            <a:r>
              <a:rPr lang="en-US" dirty="0" err="1"/>
              <a:t>quae</a:t>
            </a:r>
            <a:r>
              <a:rPr lang="en-US" dirty="0"/>
              <a:t> pore </a:t>
            </a:r>
            <a:r>
              <a:rPr lang="en-US" dirty="0" err="1"/>
              <a:t>debis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quiam</a:t>
            </a:r>
            <a:r>
              <a:rPr lang="en-US" dirty="0"/>
              <a:t>, </a:t>
            </a:r>
            <a:r>
              <a:rPr lang="en-US" dirty="0" err="1"/>
              <a:t>sequo</a:t>
            </a:r>
            <a:r>
              <a:rPr lang="en-US" dirty="0"/>
              <a:t> </a:t>
            </a:r>
            <a:r>
              <a:rPr lang="en-US" dirty="0" err="1"/>
              <a:t>consed</a:t>
            </a:r>
            <a:r>
              <a:rPr lang="en-US" dirty="0"/>
              <a:t> </a:t>
            </a:r>
            <a:r>
              <a:rPr lang="en-US" dirty="0" err="1"/>
              <a:t>experero</a:t>
            </a:r>
            <a:r>
              <a:rPr lang="en-US" dirty="0"/>
              <a:t> </a:t>
            </a:r>
            <a:r>
              <a:rPr lang="en-US" dirty="0" err="1"/>
              <a:t>evel</a:t>
            </a:r>
            <a:r>
              <a:rPr lang="en-US" dirty="0"/>
              <a:t> </a:t>
            </a:r>
            <a:r>
              <a:rPr lang="en-US" dirty="0" err="1"/>
              <a:t>expliqui</a:t>
            </a:r>
            <a:r>
              <a:rPr lang="en-US" dirty="0"/>
              <a:t> sunt </a:t>
            </a:r>
            <a:r>
              <a:rPr lang="en-US" dirty="0" err="1"/>
              <a:t>aris</a:t>
            </a:r>
            <a:r>
              <a:rPr lang="en-US" dirty="0"/>
              <a:t> </a:t>
            </a:r>
            <a:r>
              <a:rPr lang="en-US" dirty="0" err="1"/>
              <a:t>elecus</a:t>
            </a:r>
            <a:r>
              <a:rPr lang="en-US" dirty="0"/>
              <a:t>.</a:t>
            </a:r>
            <a:endParaRPr lang="en-CH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1619A1B-3C60-E64A-A0B2-E9C62FB925F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587375" y="898902"/>
            <a:ext cx="4068763" cy="537489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2AC5AB8-B30D-F842-8DBC-1456966E3BF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764089" y="898902"/>
            <a:ext cx="4032250" cy="5374898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84157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pos="2933" userDrawn="1">
          <p15:clr>
            <a:srgbClr val="FBAE40"/>
          </p15:clr>
        </p15:guide>
        <p15:guide id="4" pos="3001" userDrawn="1">
          <p15:clr>
            <a:srgbClr val="FBAE40"/>
          </p15:clr>
        </p15:guide>
        <p15:guide id="5" pos="5541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Grap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639E913-FC68-F144-9547-DC94EC48C143}"/>
              </a:ext>
            </a:extLst>
          </p:cNvPr>
          <p:cNvCxnSpPr>
            <a:cxnSpLocks/>
          </p:cNvCxnSpPr>
          <p:nvPr userDrawn="1"/>
        </p:nvCxnSpPr>
        <p:spPr>
          <a:xfrm>
            <a:off x="587375" y="2113713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A479B21-20F3-6441-AEFD-EF2D75D4580F}"/>
              </a:ext>
            </a:extLst>
          </p:cNvPr>
          <p:cNvCxnSpPr>
            <a:cxnSpLocks/>
          </p:cNvCxnSpPr>
          <p:nvPr userDrawn="1"/>
        </p:nvCxnSpPr>
        <p:spPr>
          <a:xfrm>
            <a:off x="587375" y="3204939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9344AE9-9114-6B4B-B310-B144522DBA4C}"/>
              </a:ext>
            </a:extLst>
          </p:cNvPr>
          <p:cNvCxnSpPr>
            <a:cxnSpLocks/>
          </p:cNvCxnSpPr>
          <p:nvPr userDrawn="1"/>
        </p:nvCxnSpPr>
        <p:spPr>
          <a:xfrm>
            <a:off x="587375" y="4296165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6997FF1-9409-0E4C-B676-8B4F2FF4AE1E}"/>
              </a:ext>
            </a:extLst>
          </p:cNvPr>
          <p:cNvCxnSpPr>
            <a:cxnSpLocks/>
          </p:cNvCxnSpPr>
          <p:nvPr userDrawn="1"/>
        </p:nvCxnSpPr>
        <p:spPr>
          <a:xfrm>
            <a:off x="587375" y="5387392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565BD963-A1FB-F14A-AC04-DEDFA71F1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e chart</a:t>
            </a:r>
            <a:endParaRPr lang="en-CH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E6B211-8B1D-C241-B337-9B8ABB29A2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30936" y="1288204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2146D77-49B9-E946-B15D-1D213B2E24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38193" y="2372172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489E202-B797-5245-BB4D-93A274E570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30935" y="3487588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0F54FE1-54E2-564F-A3C9-3141FB47DD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30936" y="4564299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BA619C-FC98-4747-BC7D-3A34B0E24D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801" y="1260609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A623794-C4B7-0948-97C7-598C09E384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801" y="2351834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85ADA03-F7AD-2649-8972-AD83D6C575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81" y="3462791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AB1BD16-00CF-9149-9A70-E7D70E4160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781" y="4539125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FFED96A-EDB7-3042-98F4-FE168F526E3B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009843218"/>
              </p:ext>
            </p:extLst>
          </p:nvPr>
        </p:nvGraphicFramePr>
        <p:xfrm>
          <a:off x="5419290" y="1239078"/>
          <a:ext cx="5482258" cy="4287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E7BD1392-ABFB-664C-B9B9-64B22CD917ED}"/>
              </a:ext>
            </a:extLst>
          </p:cNvPr>
          <p:cNvSpPr txBox="1"/>
          <p:nvPr userDrawn="1"/>
        </p:nvSpPr>
        <p:spPr>
          <a:xfrm>
            <a:off x="7549044" y="1782575"/>
            <a:ext cx="513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EF Circular Bold" panose="020B0604020101020102" pitchFamily="34" charset="77"/>
                <a:cs typeface="EF Circular Bold" panose="020B0604020101020102" pitchFamily="34" charset="77"/>
              </a:rPr>
              <a:t>XX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7A09A6-179F-2A41-A59C-7E857F281354}"/>
              </a:ext>
            </a:extLst>
          </p:cNvPr>
          <p:cNvSpPr txBox="1"/>
          <p:nvPr userDrawn="1"/>
        </p:nvSpPr>
        <p:spPr>
          <a:xfrm>
            <a:off x="6848004" y="2349503"/>
            <a:ext cx="513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EF Circular Bold" panose="020B0604020101020102" pitchFamily="34" charset="77"/>
                <a:cs typeface="EF Circular Bold" panose="020B0604020101020102" pitchFamily="34" charset="77"/>
              </a:rPr>
              <a:t>XX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9A7003-478D-D440-BD79-7EECEE597E4C}"/>
              </a:ext>
            </a:extLst>
          </p:cNvPr>
          <p:cNvSpPr txBox="1"/>
          <p:nvPr userDrawn="1"/>
        </p:nvSpPr>
        <p:spPr>
          <a:xfrm>
            <a:off x="6741371" y="3575344"/>
            <a:ext cx="513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EF Circular Bold" panose="020B0604020101020102" pitchFamily="34" charset="77"/>
                <a:cs typeface="EF Circular Bold" panose="020B0604020101020102" pitchFamily="34" charset="77"/>
              </a:rPr>
              <a:t>XX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D09353C-6784-D04C-BB83-EE27E82DCBC5}"/>
              </a:ext>
            </a:extLst>
          </p:cNvPr>
          <p:cNvSpPr txBox="1"/>
          <p:nvPr userDrawn="1"/>
        </p:nvSpPr>
        <p:spPr>
          <a:xfrm>
            <a:off x="8821459" y="3344512"/>
            <a:ext cx="513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9EEB"/>
                </a:solidFill>
                <a:latin typeface="EF Circular Bold" panose="020B0604020101020102" pitchFamily="34" charset="77"/>
                <a:cs typeface="EF Circular Bold" panose="020B0604020101020102" pitchFamily="34" charset="77"/>
              </a:rPr>
              <a:t>XX%</a:t>
            </a:r>
            <a:endParaRPr lang="en-US" sz="1200" b="1" dirty="0">
              <a:solidFill>
                <a:schemeClr val="bg1"/>
              </a:solidFill>
              <a:latin typeface="EF Circular Bold" panose="020B0604020101020102" pitchFamily="34" charset="77"/>
              <a:cs typeface="EF Circular Bold" panose="020B0604020101020102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8726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 userDrawn="1">
          <p15:clr>
            <a:srgbClr val="FBAE40"/>
          </p15:clr>
        </p15:guide>
        <p15:guide id="2" pos="1277" userDrawn="1">
          <p15:clr>
            <a:srgbClr val="FBAE40"/>
          </p15:clr>
        </p15:guide>
        <p15:guide id="3" orient="horz" pos="845" userDrawn="1">
          <p15:clr>
            <a:srgbClr val="FBAE40"/>
          </p15:clr>
        </p15:guide>
        <p15:guide id="4" orient="horz" pos="1525" userDrawn="1">
          <p15:clr>
            <a:srgbClr val="FBAE40"/>
          </p15:clr>
        </p15:guide>
        <p15:guide id="5" orient="horz" pos="2228" userDrawn="1">
          <p15:clr>
            <a:srgbClr val="FBAE40"/>
          </p15:clr>
        </p15:guide>
        <p15:guide id="6" orient="horz" pos="2908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ie Grap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639E913-FC68-F144-9547-DC94EC48C143}"/>
              </a:ext>
            </a:extLst>
          </p:cNvPr>
          <p:cNvCxnSpPr>
            <a:cxnSpLocks/>
          </p:cNvCxnSpPr>
          <p:nvPr userDrawn="1"/>
        </p:nvCxnSpPr>
        <p:spPr>
          <a:xfrm>
            <a:off x="587375" y="2113713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A479B21-20F3-6441-AEFD-EF2D75D4580F}"/>
              </a:ext>
            </a:extLst>
          </p:cNvPr>
          <p:cNvCxnSpPr>
            <a:cxnSpLocks/>
          </p:cNvCxnSpPr>
          <p:nvPr userDrawn="1"/>
        </p:nvCxnSpPr>
        <p:spPr>
          <a:xfrm>
            <a:off x="587375" y="3204939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9344AE9-9114-6B4B-B310-B144522DBA4C}"/>
              </a:ext>
            </a:extLst>
          </p:cNvPr>
          <p:cNvCxnSpPr>
            <a:cxnSpLocks/>
          </p:cNvCxnSpPr>
          <p:nvPr userDrawn="1"/>
        </p:nvCxnSpPr>
        <p:spPr>
          <a:xfrm>
            <a:off x="587375" y="4296165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6997FF1-9409-0E4C-B676-8B4F2FF4AE1E}"/>
              </a:ext>
            </a:extLst>
          </p:cNvPr>
          <p:cNvCxnSpPr>
            <a:cxnSpLocks/>
          </p:cNvCxnSpPr>
          <p:nvPr userDrawn="1"/>
        </p:nvCxnSpPr>
        <p:spPr>
          <a:xfrm>
            <a:off x="587375" y="5387392"/>
            <a:ext cx="4068763" cy="0"/>
          </a:xfrm>
          <a:prstGeom prst="line">
            <a:avLst/>
          </a:prstGeom>
          <a:ln>
            <a:solidFill>
              <a:srgbClr val="009E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565BD963-A1FB-F14A-AC04-DEDFA71F1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Pie chart</a:t>
            </a:r>
            <a:endParaRPr lang="en-CH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E6B211-8B1D-C241-B337-9B8ABB29A2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30936" y="1288204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2146D77-49B9-E946-B15D-1D213B2E24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38193" y="2372172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489E202-B797-5245-BB4D-93A274E570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30935" y="3487588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0F54FE1-54E2-564F-A3C9-3141FB47DD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30936" y="4564299"/>
            <a:ext cx="2568057" cy="6328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endParaRPr lang="en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BA619C-FC98-4747-BC7D-3A34B0E24D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801" y="1260609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A623794-C4B7-0948-97C7-598C09E384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801" y="2351834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85ADA03-F7AD-2649-8972-AD83D6C575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781" y="3462791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AB1BD16-00CF-9149-9A70-E7D70E4160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781" y="4539125"/>
            <a:ext cx="1051832" cy="502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XX%</a:t>
            </a:r>
            <a:endParaRPr lang="en-CH" dirty="0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1076435-84C3-CE49-85CE-32F8C084EBB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506145181"/>
              </p:ext>
            </p:extLst>
          </p:nvPr>
        </p:nvGraphicFramePr>
        <p:xfrm>
          <a:off x="5598504" y="1347701"/>
          <a:ext cx="5293608" cy="403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4072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>
          <p15:clr>
            <a:srgbClr val="FBAE40"/>
          </p15:clr>
        </p15:guide>
        <p15:guide id="2" pos="1277">
          <p15:clr>
            <a:srgbClr val="FBAE40"/>
          </p15:clr>
        </p15:guide>
        <p15:guide id="3" orient="horz" pos="845">
          <p15:clr>
            <a:srgbClr val="FBAE40"/>
          </p15:clr>
        </p15:guide>
        <p15:guide id="4" orient="horz" pos="1525">
          <p15:clr>
            <a:srgbClr val="FBAE40"/>
          </p15:clr>
        </p15:guide>
        <p15:guide id="5" orient="horz" pos="2228">
          <p15:clr>
            <a:srgbClr val="FBAE40"/>
          </p15:clr>
        </p15:guide>
        <p15:guide id="6" orient="horz" pos="290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e Graph">
    <p:bg>
      <p:bgPr>
        <a:blipFill dpi="0" rotWithShape="1">
          <a:blip r:embed="rId4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3B3710A6-741D-4504-9A8D-E7EDA11533BB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652043"/>
              </p:ext>
            </p:extLst>
          </p:nvPr>
        </p:nvGraphicFramePr>
        <p:xfrm>
          <a:off x="2267743" y="2715891"/>
          <a:ext cx="7656513" cy="188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3E4FF88-4CC0-4F22-932C-8772AB7364C9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auto">
          <a:xfrm flipV="1">
            <a:off x="6707981" y="4043041"/>
            <a:ext cx="0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432F68-BEE5-4458-8014-B349648C798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auto">
          <a:xfrm flipV="1">
            <a:off x="4998243" y="4019228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DA3DDE1-9C01-4A4F-8095-BD70F8DE206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 bwMode="auto">
          <a:xfrm flipV="1">
            <a:off x="8416131" y="4100191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809EF5F-38BE-4CD7-8C0C-5DAC06616F0F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 flipV="1">
            <a:off x="3860006" y="4016053"/>
            <a:ext cx="0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81D369B-0A0D-42C2-81EA-21DCF900E75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auto">
          <a:xfrm flipV="1">
            <a:off x="9555956" y="417797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EBDFE23-9CC4-471E-B214-099C3ABFBAA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auto">
          <a:xfrm flipV="1">
            <a:off x="4429918" y="4016053"/>
            <a:ext cx="0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F257E73-4D63-4364-A1C5-F8737D40DB4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auto">
          <a:xfrm flipV="1">
            <a:off x="3290093" y="401446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6BE4042-2FF1-4E41-AE3E-446E6CA0FDB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 bwMode="auto">
          <a:xfrm flipV="1">
            <a:off x="8986043" y="4147816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B69694B-B797-4809-9D4B-E9DCAD30294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 bwMode="auto">
          <a:xfrm flipV="1">
            <a:off x="7847806" y="4077966"/>
            <a:ext cx="0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1209780-54CA-43D3-8FC8-AB3045D2F289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 bwMode="auto">
          <a:xfrm flipV="1">
            <a:off x="7277893" y="4062091"/>
            <a:ext cx="0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3781D0-400D-471A-8089-D60F892FB7A3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 bwMode="auto">
          <a:xfrm flipV="1">
            <a:off x="6138068" y="4031928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D3A61CD-D0D4-47F7-8DC1-B03A3A322CC8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 bwMode="auto">
          <a:xfrm flipV="1">
            <a:off x="5568156" y="4023990"/>
            <a:ext cx="0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51FB77-66A3-4FF9-B24B-B7960D36B4C3}"/>
              </a:ext>
            </a:extLst>
          </p:cNvPr>
          <p:cNvSpPr txBox="1">
            <a:spLocks/>
          </p:cNvSpPr>
          <p:nvPr userDrawn="1">
            <p:custDataLst>
              <p:tags r:id="rId14"/>
            </p:custDataLst>
          </p:nvPr>
        </p:nvSpPr>
        <p:spPr bwMode="auto">
          <a:xfrm>
            <a:off x="5431631" y="4539928"/>
            <a:ext cx="2746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E3B41D-386A-4B50-A3E7-22A45DD2158A}" type="datetime'''''F''''''''''''e''''''''''''''''''b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Feb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7174D98-8CFD-466A-839D-82BFDB88E14A}"/>
              </a:ext>
            </a:extLst>
          </p:cNvPr>
          <p:cNvSpPr txBox="1"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5992018" y="4539928"/>
            <a:ext cx="293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D473A0-6317-4AE6-BB53-B18A169BD098}" type="datetime'''''''''''''''''''''''''''''M''''''''''''''a''r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r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1476B34-9982-47BA-9ECB-DC0123ECA09C}"/>
              </a:ext>
            </a:extLst>
          </p:cNvPr>
          <p:cNvSpPr txBox="1"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3740943" y="3795391"/>
            <a:ext cx="2397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216739-D16F-4E0F-A193-56DD864A0B0D}" type="datetime'''''''4''''''''''''''''''''''''''''0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93D10257-08FE-4A95-85C2-39B5183E2C11}"/>
              </a:ext>
            </a:extLst>
          </p:cNvPr>
          <p:cNvSpPr txBox="1">
            <a:spLocks/>
          </p:cNvSpPr>
          <p:nvPr userDrawn="1">
            <p:custDataLst>
              <p:tags r:id="rId17"/>
            </p:custDataLst>
          </p:nvPr>
        </p:nvSpPr>
        <p:spPr bwMode="auto">
          <a:xfrm>
            <a:off x="6574631" y="4539928"/>
            <a:ext cx="266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E211F8E-5563-4745-A629-40BF69323FCE}" type="datetime'''''A''''''''''''''''''''''''''''''p''''''''''''''''''r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pr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1C1AF00-AFC2-49EC-81FF-83485CB3BDF8}"/>
              </a:ext>
            </a:extLst>
          </p:cNvPr>
          <p:cNvSpPr txBox="1"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9321006" y="2784153"/>
            <a:ext cx="469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7FD4D7-2071-4586-B337-4BBC497DBE2F}" type="datetime'3'''''''''',''''''''''3''''''''''''0''''''''''''0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3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D238776-AE89-4B7E-A68C-6D896733C330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 bwMode="gray">
          <a:xfrm>
            <a:off x="3172618" y="3801741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929779-3609-4643-906E-12E64DA652C1}" type="datetime'''''''''''''''2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149129F-72F5-46AC-AA8D-464C528F6285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 bwMode="gray">
          <a:xfrm>
            <a:off x="8181181" y="3076253"/>
            <a:ext cx="4714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0D1D65-6060-4273-AC7B-D98989BC78CF}" type="datetime'''2'',4''''''''''''''''''''''''''''0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21D128E-1BCC-4CDF-BC52-5943D79DDF43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4823618" y="4539928"/>
            <a:ext cx="350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AFC9522-2BEA-475E-A07F-90F6494A3C2A}" type="datetime'J''a''''n&#10;''''''''2''''''0''''''1''''9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an
2019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D6E93DEA-B18F-40A9-B61F-89BB5F665642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 bwMode="auto">
          <a:xfrm>
            <a:off x="7714456" y="4539928"/>
            <a:ext cx="268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AFF0A2-0B93-4A63-946C-4D590E92EC9F}" type="datetime'''''''''''''''Ju''''''''''''''''''''''''''''''''''''''''''n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n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F6AFCBC-7B1E-4DFF-9FE5-F5E4BFD8B564}"/>
              </a:ext>
            </a:extLst>
          </p:cNvPr>
          <p:cNvSpPr txBox="1">
            <a:spLocks/>
          </p:cNvSpPr>
          <p:nvPr userDrawn="1">
            <p:custDataLst>
              <p:tags r:id="rId23"/>
            </p:custDataLst>
          </p:nvPr>
        </p:nvSpPr>
        <p:spPr bwMode="auto">
          <a:xfrm>
            <a:off x="4285456" y="4539928"/>
            <a:ext cx="290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E6105B-CB15-482E-9842-DB0828DCA039}" type="datetime'''''''''''''De''''''''''''c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Dec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C9D851C-03DA-461A-AE82-0EDE1890ABCB}"/>
              </a:ext>
            </a:extLst>
          </p:cNvPr>
          <p:cNvSpPr txBox="1">
            <a:spLocks/>
          </p:cNvSpPr>
          <p:nvPr userDrawn="1">
            <p:custDataLst>
              <p:tags r:id="rId24"/>
            </p:custDataLst>
          </p:nvPr>
        </p:nvSpPr>
        <p:spPr bwMode="gray">
          <a:xfrm>
            <a:off x="4315618" y="3787453"/>
            <a:ext cx="2286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862A2D-105A-4DEB-944D-AF22F92637F8}" type="datetime'''''''7''''''0''''''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619D3F2B-4ADC-4F3D-9D19-E49BD51FD96D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 bwMode="auto">
          <a:xfrm>
            <a:off x="8838406" y="4539928"/>
            <a:ext cx="295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BD3331-4F32-47BC-BBDE-8D3789DD88A2}" type="datetime'''''''''''''''A''''''''''''''''''ug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ug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A031880-F9A1-4049-BFEA-5CC28BF05C1F}"/>
              </a:ext>
            </a:extLst>
          </p:cNvPr>
          <p:cNvSpPr txBox="1">
            <a:spLocks/>
          </p:cNvSpPr>
          <p:nvPr userDrawn="1">
            <p:custDataLst>
              <p:tags r:id="rId26"/>
            </p:custDataLst>
          </p:nvPr>
        </p:nvSpPr>
        <p:spPr bwMode="gray">
          <a:xfrm>
            <a:off x="4831556" y="3749353"/>
            <a:ext cx="3349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B3C9F-3049-45D3-8446-C1CD83327CF8}" type="datetime'''''''''''''''''''''20''''''''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66644B68-1527-41B1-996A-1E4D0D1C670B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 bwMode="auto">
          <a:xfrm>
            <a:off x="7117556" y="4539928"/>
            <a:ext cx="320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0F8F57-3EB4-49ED-B489-0B74EA2F3078}" type="datetime'''''M''''''''''''''''''''''''a''''''''''''y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y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6A43C8B-AC26-47B4-9448-52087DEFA3D9}"/>
              </a:ext>
            </a:extLst>
          </p:cNvPr>
          <p:cNvSpPr txBox="1">
            <a:spLocks/>
          </p:cNvSpPr>
          <p:nvPr userDrawn="1">
            <p:custDataLst>
              <p:tags r:id="rId28"/>
            </p:custDataLst>
          </p:nvPr>
        </p:nvSpPr>
        <p:spPr bwMode="gray">
          <a:xfrm>
            <a:off x="5976143" y="3642991"/>
            <a:ext cx="3254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EFF31B-4333-48F6-8449-3DA3589416EF}" type="datetime'''''''5''''''''''''''''''''''''''''''5''''0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F808FC5C-0D5A-4A38-B6DF-D6DA0AA53891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5399881" y="3719191"/>
            <a:ext cx="3365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2BAA7-9EEC-4594-9602-CFA87B779440}" type="datetime'''''''''''''''''''''''''''3''''''0''''''''''''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77BDF7D-CBEB-4E4B-9B52-4BF2C9D7A540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auto">
          <a:xfrm>
            <a:off x="3710781" y="4539928"/>
            <a:ext cx="300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3BEBFA0-636D-42AA-A846-03103141AFC3}" type="datetime'''''''''''''''''''''''''N''''''o''''''''''''''''v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Nov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7FDFB55-2D46-4471-B642-D2769F8E1ED0}"/>
              </a:ext>
            </a:extLst>
          </p:cNvPr>
          <p:cNvSpPr txBox="1">
            <a:spLocks/>
          </p:cNvSpPr>
          <p:nvPr userDrawn="1">
            <p:custDataLst>
              <p:tags r:id="rId31"/>
            </p:custDataLst>
          </p:nvPr>
        </p:nvSpPr>
        <p:spPr bwMode="gray">
          <a:xfrm>
            <a:off x="6544469" y="3527103"/>
            <a:ext cx="3286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B10BCD-3B57-4355-81CD-42FE09ABD72A}" type="datetime'''''''''''''''''95''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EED404C-D783-49E1-AAB8-B2DDBB3E90E7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7065168" y="3325491"/>
            <a:ext cx="427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DC3BB-8FE1-4AC5-85D6-B14A5E0A0DD8}" type="datetime'''''1'''',''''''''''''''''''''63''''0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63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E5D37D1-7BB1-4B4C-9AF4-EA520162F3E9}"/>
              </a:ext>
            </a:extLst>
          </p:cNvPr>
          <p:cNvSpPr txBox="1">
            <a:spLocks/>
          </p:cNvSpPr>
          <p:nvPr userDrawn="1">
            <p:custDataLst>
              <p:tags r:id="rId33"/>
            </p:custDataLst>
          </p:nvPr>
        </p:nvSpPr>
        <p:spPr bwMode="gray">
          <a:xfrm>
            <a:off x="8751092" y="2909566"/>
            <a:ext cx="469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4AA6D7-1B12-4999-9729-08D4BA4F061D}" type="datetime'''''''''''2'''''''''''''',9''''''''0''''''''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9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8591004-D540-4A4D-BFAF-F8FD141031AF}"/>
              </a:ext>
            </a:extLst>
          </p:cNvPr>
          <p:cNvSpPr txBox="1">
            <a:spLocks/>
          </p:cNvSpPr>
          <p:nvPr userDrawn="1">
            <p:custDataLst>
              <p:tags r:id="rId34"/>
            </p:custDataLst>
          </p:nvPr>
        </p:nvSpPr>
        <p:spPr bwMode="auto">
          <a:xfrm>
            <a:off x="3115468" y="4539928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08D99B-77FC-433A-9FEF-9B0CF4A37AB0}" type="datetime'''''''Oc''''''''''t''''''''''''''''''''&#10;2''''''''''''0''18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Oct
2018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3E2C1B4-2763-44E7-8B79-7CFCE5D65C8E}"/>
              </a:ext>
            </a:extLst>
          </p:cNvPr>
          <p:cNvSpPr txBox="1">
            <a:spLocks/>
          </p:cNvSpPr>
          <p:nvPr userDrawn="1">
            <p:custDataLst>
              <p:tags r:id="rId35"/>
            </p:custDataLst>
          </p:nvPr>
        </p:nvSpPr>
        <p:spPr bwMode="auto">
          <a:xfrm>
            <a:off x="8287543" y="4539928"/>
            <a:ext cx="2587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6F8A6FF-6556-4AD4-BEFE-F301AD8A01F7}" type="datetime'''J''''''''''''''u''''''''l'''''' 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l 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5DC47B6-CA28-4A5A-A600-EFF2E21B197B}"/>
              </a:ext>
            </a:extLst>
          </p:cNvPr>
          <p:cNvSpPr txBox="1">
            <a:spLocks/>
          </p:cNvSpPr>
          <p:nvPr userDrawn="1">
            <p:custDataLst>
              <p:tags r:id="rId36"/>
            </p:custDataLst>
          </p:nvPr>
        </p:nvSpPr>
        <p:spPr bwMode="gray">
          <a:xfrm>
            <a:off x="7609681" y="3206428"/>
            <a:ext cx="476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8C7EA-1677-4F38-A012-5068F65B097A}" type="datetime'''''''''''''2,''''''''''''0''''''''0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EFBF4728-76E4-4988-8968-CBC556CD68E2}"/>
              </a:ext>
            </a:extLst>
          </p:cNvPr>
          <p:cNvSpPr txBox="1">
            <a:spLocks/>
          </p:cNvSpPr>
          <p:nvPr userDrawn="1">
            <p:custDataLst>
              <p:tags r:id="rId37"/>
            </p:custDataLst>
          </p:nvPr>
        </p:nvSpPr>
        <p:spPr bwMode="auto">
          <a:xfrm>
            <a:off x="9417843" y="4539928"/>
            <a:ext cx="277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9DBE44-2E96-43E8-9272-FB469A8BDBD3}" type="datetime'''''''''''''S''e''''''''''''''''''''''''''''''''p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Sep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0869D95A-E8B1-4C4D-B0F9-39653E67F721}"/>
              </a:ext>
            </a:extLst>
          </p:cNvPr>
          <p:cNvSpPr txBox="1">
            <a:spLocks/>
          </p:cNvSpPr>
          <p:nvPr userDrawn="1">
            <p:custDataLst>
              <p:tags r:id="rId38"/>
            </p:custDataLst>
          </p:nvPr>
        </p:nvSpPr>
        <p:spPr bwMode="gray">
          <a:xfrm>
            <a:off x="3218656" y="4039866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AB055F-1C39-40EC-9806-CEE381A2E30C}" type="datetime'''''''''''''''''''''''''''''''''''''''''''''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B10E8B9-E803-44DC-A9ED-559574E7F3C5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3177381" y="2990527"/>
            <a:ext cx="214313" cy="160338"/>
          </a:xfrm>
          <a:prstGeom prst="rect">
            <a:avLst/>
          </a:prstGeom>
          <a:solidFill>
            <a:srgbClr val="003C64"/>
          </a:solidFill>
          <a:ln w="63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21F5875-E092-4DB7-B23E-126AB9EBEEBA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3177381" y="2757166"/>
            <a:ext cx="214313" cy="160338"/>
          </a:xfrm>
          <a:prstGeom prst="rect">
            <a:avLst/>
          </a:prstGeom>
          <a:solidFill>
            <a:srgbClr val="009E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D8D9952D-C24B-4813-8C5C-3DBAE115CE47}"/>
              </a:ext>
            </a:extLst>
          </p:cNvPr>
          <p:cNvSpPr txBox="1">
            <a:spLocks/>
          </p:cNvSpPr>
          <p:nvPr userDrawn="1">
            <p:custDataLst>
              <p:tags r:id="rId41"/>
            </p:custDataLst>
          </p:nvPr>
        </p:nvSpPr>
        <p:spPr bwMode="auto">
          <a:xfrm>
            <a:off x="3442493" y="2985766"/>
            <a:ext cx="571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200" dirty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t>XX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D7AF435F-E928-420F-9319-6D135BCA4890}"/>
              </a:ext>
            </a:extLst>
          </p:cNvPr>
          <p:cNvSpPr txBox="1">
            <a:spLocks/>
          </p:cNvSpPr>
          <p:nvPr userDrawn="1">
            <p:custDataLst>
              <p:tags r:id="rId42"/>
            </p:custDataLst>
          </p:nvPr>
        </p:nvSpPr>
        <p:spPr bwMode="auto">
          <a:xfrm>
            <a:off x="3442493" y="2752403"/>
            <a:ext cx="11445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200" dirty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t>XX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0D29C704-276C-B540-92AE-FEE50260FD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9260676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e Grap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0D29C704-276C-B540-92AE-FEE50260FDC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3472532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e 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3B3710A6-741D-4504-9A8D-E7EDA11533BB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363290"/>
              </p:ext>
            </p:extLst>
          </p:nvPr>
        </p:nvGraphicFramePr>
        <p:xfrm>
          <a:off x="2267743" y="2715891"/>
          <a:ext cx="7656513" cy="188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3E4FF88-4CC0-4F22-932C-8772AB7364C9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 bwMode="auto">
          <a:xfrm flipV="1">
            <a:off x="6707981" y="4043041"/>
            <a:ext cx="0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432F68-BEE5-4458-8014-B349648C798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 bwMode="auto">
          <a:xfrm flipV="1">
            <a:off x="4998243" y="4019228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DA3DDE1-9C01-4A4F-8095-BD70F8DE206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 bwMode="auto">
          <a:xfrm flipV="1">
            <a:off x="8416131" y="4100191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809EF5F-38BE-4CD7-8C0C-5DAC06616F0F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 flipV="1">
            <a:off x="3860006" y="4016053"/>
            <a:ext cx="0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81D369B-0A0D-42C2-81EA-21DCF900E75B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auto">
          <a:xfrm flipV="1">
            <a:off x="9555956" y="417797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EBDFE23-9CC4-471E-B214-099C3ABFBAA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auto">
          <a:xfrm flipV="1">
            <a:off x="4429918" y="4016053"/>
            <a:ext cx="0" cy="269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F257E73-4D63-4364-A1C5-F8737D40DB4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auto">
          <a:xfrm flipV="1">
            <a:off x="3290093" y="4014466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6BE4042-2FF1-4E41-AE3E-446E6CA0FDB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 bwMode="auto">
          <a:xfrm flipV="1">
            <a:off x="8986043" y="4147816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B69694B-B797-4809-9D4B-E9DCAD30294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 bwMode="auto">
          <a:xfrm flipV="1">
            <a:off x="7847806" y="4077966"/>
            <a:ext cx="0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1209780-54CA-43D3-8FC8-AB3045D2F289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 bwMode="auto">
          <a:xfrm flipV="1">
            <a:off x="7277893" y="4062091"/>
            <a:ext cx="0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3781D0-400D-471A-8089-D60F892FB7A3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 bwMode="auto">
          <a:xfrm flipV="1">
            <a:off x="6138068" y="4031928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D3A61CD-D0D4-47F7-8DC1-B03A3A322CC8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 bwMode="auto">
          <a:xfrm flipV="1">
            <a:off x="5568156" y="4023990"/>
            <a:ext cx="0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E451FB77-66A3-4FF9-B24B-B7960D36B4C3}"/>
              </a:ext>
            </a:extLst>
          </p:cNvPr>
          <p:cNvSpPr txBox="1">
            <a:spLocks/>
          </p:cNvSpPr>
          <p:nvPr userDrawn="1">
            <p:custDataLst>
              <p:tags r:id="rId14"/>
            </p:custDataLst>
          </p:nvPr>
        </p:nvSpPr>
        <p:spPr bwMode="auto">
          <a:xfrm>
            <a:off x="5431631" y="4539928"/>
            <a:ext cx="2746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E3B41D-386A-4B50-A3E7-22A45DD2158A}" type="datetime'''''F''''''''''''e''''''''''''''''''b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Feb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F7174D98-8CFD-466A-839D-82BFDB88E14A}"/>
              </a:ext>
            </a:extLst>
          </p:cNvPr>
          <p:cNvSpPr txBox="1">
            <a:spLocks/>
          </p:cNvSpPr>
          <p:nvPr userDrawn="1">
            <p:custDataLst>
              <p:tags r:id="rId15"/>
            </p:custDataLst>
          </p:nvPr>
        </p:nvSpPr>
        <p:spPr bwMode="auto">
          <a:xfrm>
            <a:off x="5992018" y="4539928"/>
            <a:ext cx="293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D473A0-6317-4AE6-BB53-B18A169BD098}" type="datetime'''''''''''''''''''''''''''''M''''''''''''''a''r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r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1476B34-9982-47BA-9ECB-DC0123ECA09C}"/>
              </a:ext>
            </a:extLst>
          </p:cNvPr>
          <p:cNvSpPr txBox="1">
            <a:spLocks/>
          </p:cNvSpPr>
          <p:nvPr userDrawn="1">
            <p:custDataLst>
              <p:tags r:id="rId16"/>
            </p:custDataLst>
          </p:nvPr>
        </p:nvSpPr>
        <p:spPr bwMode="gray">
          <a:xfrm>
            <a:off x="3740943" y="3795391"/>
            <a:ext cx="2397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216739-D16F-4E0F-A193-56DD864A0B0D}" type="datetime'''''''4''''''''''''''''''''''''''''0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93D10257-08FE-4A95-85C2-39B5183E2C11}"/>
              </a:ext>
            </a:extLst>
          </p:cNvPr>
          <p:cNvSpPr txBox="1">
            <a:spLocks/>
          </p:cNvSpPr>
          <p:nvPr userDrawn="1">
            <p:custDataLst>
              <p:tags r:id="rId17"/>
            </p:custDataLst>
          </p:nvPr>
        </p:nvSpPr>
        <p:spPr bwMode="auto">
          <a:xfrm>
            <a:off x="6574631" y="4539928"/>
            <a:ext cx="266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E211F8E-5563-4745-A629-40BF69323FCE}" type="datetime'''''A''''''''''''''''''''''''''''''p''''''''''''''''''r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pr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1C1AF00-AFC2-49EC-81FF-83485CB3BDF8}"/>
              </a:ext>
            </a:extLst>
          </p:cNvPr>
          <p:cNvSpPr txBox="1"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9321006" y="2784153"/>
            <a:ext cx="469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7FD4D7-2071-4586-B337-4BBC497DBE2F}" type="datetime'3'''''''''',''''''''''3''''''''''''0''''''''''''0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3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D238776-AE89-4B7E-A68C-6D896733C330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 bwMode="gray">
          <a:xfrm>
            <a:off x="3172618" y="3801741"/>
            <a:ext cx="234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929779-3609-4643-906E-12E64DA652C1}" type="datetime'''''''''''''''2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149129F-72F5-46AC-AA8D-464C528F6285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 bwMode="gray">
          <a:xfrm>
            <a:off x="8181181" y="3076253"/>
            <a:ext cx="4714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0D1D65-6060-4273-AC7B-D98989BC78CF}" type="datetime'''2'',4''''''''''''''''''''''''''''0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21D128E-1BCC-4CDF-BC52-5943D79DDF43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 bwMode="auto">
          <a:xfrm>
            <a:off x="4823618" y="4539928"/>
            <a:ext cx="350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AFC9522-2BEA-475E-A07F-90F6494A3C2A}" type="datetime'J''a''''n&#10;''''''''2''''''0''''''1''''9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an
2019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D6E93DEA-B18F-40A9-B61F-89BB5F665642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 bwMode="auto">
          <a:xfrm>
            <a:off x="7714456" y="4539928"/>
            <a:ext cx="268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AFF0A2-0B93-4A63-946C-4D590E92EC9F}" type="datetime'''''''''''''''Ju''''''''''''''''''''''''''''''''''''''''''n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n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F6AFCBC-7B1E-4DFF-9FE5-F5E4BFD8B564}"/>
              </a:ext>
            </a:extLst>
          </p:cNvPr>
          <p:cNvSpPr txBox="1">
            <a:spLocks/>
          </p:cNvSpPr>
          <p:nvPr userDrawn="1">
            <p:custDataLst>
              <p:tags r:id="rId23"/>
            </p:custDataLst>
          </p:nvPr>
        </p:nvSpPr>
        <p:spPr bwMode="auto">
          <a:xfrm>
            <a:off x="4285456" y="4539928"/>
            <a:ext cx="290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E6105B-CB15-482E-9842-DB0828DCA039}" type="datetime'''''''''''''De''''''''''''c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Dec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C9D851C-03DA-461A-AE82-0EDE1890ABCB}"/>
              </a:ext>
            </a:extLst>
          </p:cNvPr>
          <p:cNvSpPr txBox="1">
            <a:spLocks/>
          </p:cNvSpPr>
          <p:nvPr userDrawn="1">
            <p:custDataLst>
              <p:tags r:id="rId24"/>
            </p:custDataLst>
          </p:nvPr>
        </p:nvSpPr>
        <p:spPr bwMode="gray">
          <a:xfrm>
            <a:off x="4315618" y="3787453"/>
            <a:ext cx="2286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862A2D-105A-4DEB-944D-AF22F92637F8}" type="datetime'''''''7''''''0''''''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619D3F2B-4ADC-4F3D-9D19-E49BD51FD96D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 bwMode="auto">
          <a:xfrm>
            <a:off x="8838406" y="4539928"/>
            <a:ext cx="295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BD3331-4F32-47BC-BBDE-8D3789DD88A2}" type="datetime'''''''''''''''A''''''''''''''''''ug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ug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A031880-F9A1-4049-BFEA-5CC28BF05C1F}"/>
              </a:ext>
            </a:extLst>
          </p:cNvPr>
          <p:cNvSpPr txBox="1">
            <a:spLocks/>
          </p:cNvSpPr>
          <p:nvPr userDrawn="1">
            <p:custDataLst>
              <p:tags r:id="rId26"/>
            </p:custDataLst>
          </p:nvPr>
        </p:nvSpPr>
        <p:spPr bwMode="gray">
          <a:xfrm>
            <a:off x="4831556" y="3749353"/>
            <a:ext cx="3349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B3C9F-3049-45D3-8446-C1CD83327CF8}" type="datetime'''''''''''''''''''''20''''''''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66644B68-1527-41B1-996A-1E4D0D1C670B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 bwMode="auto">
          <a:xfrm>
            <a:off x="7117556" y="4539928"/>
            <a:ext cx="320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0F8F57-3EB4-49ED-B489-0B74EA2F3078}" type="datetime'''''M''''''''''''''''''''''''a''''''''''''y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y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6A43C8B-AC26-47B4-9448-52087DEFA3D9}"/>
              </a:ext>
            </a:extLst>
          </p:cNvPr>
          <p:cNvSpPr txBox="1">
            <a:spLocks/>
          </p:cNvSpPr>
          <p:nvPr userDrawn="1">
            <p:custDataLst>
              <p:tags r:id="rId28"/>
            </p:custDataLst>
          </p:nvPr>
        </p:nvSpPr>
        <p:spPr bwMode="gray">
          <a:xfrm>
            <a:off x="5976143" y="3642991"/>
            <a:ext cx="3254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EFF31B-4333-48F6-8449-3DA3589416EF}" type="datetime'''''''5''''''''''''''''''''''''''''''5''''0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F808FC5C-0D5A-4A38-B6DF-D6DA0AA53891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5399881" y="3719191"/>
            <a:ext cx="3365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A2BAA7-9EEC-4594-9602-CFA87B779440}" type="datetime'''''''''''''''''''''''''''3''''''0''''''''''''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77BDF7D-CBEB-4E4B-9B52-4BF2C9D7A540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auto">
          <a:xfrm>
            <a:off x="3710781" y="4539928"/>
            <a:ext cx="300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3BEBFA0-636D-42AA-A846-03103141AFC3}" type="datetime'''''''''''''''''''''''''N''''''o''''''''''''''''v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Nov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7FDFB55-2D46-4471-B642-D2769F8E1ED0}"/>
              </a:ext>
            </a:extLst>
          </p:cNvPr>
          <p:cNvSpPr txBox="1">
            <a:spLocks/>
          </p:cNvSpPr>
          <p:nvPr userDrawn="1">
            <p:custDataLst>
              <p:tags r:id="rId31"/>
            </p:custDataLst>
          </p:nvPr>
        </p:nvSpPr>
        <p:spPr bwMode="gray">
          <a:xfrm>
            <a:off x="6544469" y="3527103"/>
            <a:ext cx="3286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B10BCD-3B57-4355-81CD-42FE09ABD72A}" type="datetime'''''''''''''''''95''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EED404C-D783-49E1-AAB8-B2DDBB3E90E7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7065168" y="3325491"/>
            <a:ext cx="427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DC3BB-8FE1-4AC5-85D6-B14A5E0A0DD8}" type="datetime'''''1'''',''''''''''''''''''''63''''0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630</a:t>
            </a:fld>
            <a:endParaRPr lang="en-US" sz="1200" dirty="0">
              <a:sym typeface="EF Circular Book" panose="020B0604020101020102" pitchFamily="34" charset="77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E5D37D1-7BB1-4B4C-9AF4-EA520162F3E9}"/>
              </a:ext>
            </a:extLst>
          </p:cNvPr>
          <p:cNvSpPr txBox="1">
            <a:spLocks/>
          </p:cNvSpPr>
          <p:nvPr userDrawn="1">
            <p:custDataLst>
              <p:tags r:id="rId33"/>
            </p:custDataLst>
          </p:nvPr>
        </p:nvSpPr>
        <p:spPr bwMode="gray">
          <a:xfrm>
            <a:off x="8751092" y="2909566"/>
            <a:ext cx="469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4AA6D7-1B12-4999-9729-08D4BA4F061D}" type="datetime'''''''''''2'''''''''''''',9''''''''0''''''''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9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8591004-D540-4A4D-BFAF-F8FD141031AF}"/>
              </a:ext>
            </a:extLst>
          </p:cNvPr>
          <p:cNvSpPr txBox="1">
            <a:spLocks/>
          </p:cNvSpPr>
          <p:nvPr userDrawn="1">
            <p:custDataLst>
              <p:tags r:id="rId34"/>
            </p:custDataLst>
          </p:nvPr>
        </p:nvSpPr>
        <p:spPr bwMode="auto">
          <a:xfrm>
            <a:off x="3115468" y="4539928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08D99B-77FC-433A-9FEF-9B0CF4A37AB0}" type="datetime'''''''Oc''''''''''t''''''''''''''''''''&#10;2''''''''''''0''18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Oct
2018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3E2C1B4-2763-44E7-8B79-7CFCE5D65C8E}"/>
              </a:ext>
            </a:extLst>
          </p:cNvPr>
          <p:cNvSpPr txBox="1">
            <a:spLocks/>
          </p:cNvSpPr>
          <p:nvPr userDrawn="1">
            <p:custDataLst>
              <p:tags r:id="rId35"/>
            </p:custDataLst>
          </p:nvPr>
        </p:nvSpPr>
        <p:spPr bwMode="auto">
          <a:xfrm>
            <a:off x="8287543" y="4539928"/>
            <a:ext cx="2587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6F8A6FF-6556-4AD4-BEFE-F301AD8A01F7}" type="datetime'''J''''''''''''''u''''''''l'''''' 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l 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5DC47B6-CA28-4A5A-A600-EFF2E21B197B}"/>
              </a:ext>
            </a:extLst>
          </p:cNvPr>
          <p:cNvSpPr txBox="1">
            <a:spLocks/>
          </p:cNvSpPr>
          <p:nvPr userDrawn="1">
            <p:custDataLst>
              <p:tags r:id="rId36"/>
            </p:custDataLst>
          </p:nvPr>
        </p:nvSpPr>
        <p:spPr bwMode="gray">
          <a:xfrm>
            <a:off x="7609681" y="3206428"/>
            <a:ext cx="476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8C7EA-1677-4F38-A012-5068F65B097A}" type="datetime'''''''''''''2,''''''''''''0''''''''0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EFBF4728-76E4-4988-8968-CBC556CD68E2}"/>
              </a:ext>
            </a:extLst>
          </p:cNvPr>
          <p:cNvSpPr txBox="1">
            <a:spLocks/>
          </p:cNvSpPr>
          <p:nvPr userDrawn="1">
            <p:custDataLst>
              <p:tags r:id="rId37"/>
            </p:custDataLst>
          </p:nvPr>
        </p:nvSpPr>
        <p:spPr bwMode="auto">
          <a:xfrm>
            <a:off x="9417843" y="4539928"/>
            <a:ext cx="277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9DBE44-2E96-43E8-9272-FB469A8BDBD3}" type="datetime'''''''''''''S''e''''''''''''''''''''''''''''''''p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Sep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0869D95A-E8B1-4C4D-B0F9-39653E67F721}"/>
              </a:ext>
            </a:extLst>
          </p:cNvPr>
          <p:cNvSpPr txBox="1">
            <a:spLocks/>
          </p:cNvSpPr>
          <p:nvPr userDrawn="1">
            <p:custDataLst>
              <p:tags r:id="rId38"/>
            </p:custDataLst>
          </p:nvPr>
        </p:nvSpPr>
        <p:spPr bwMode="gray">
          <a:xfrm>
            <a:off x="3218656" y="4039866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AB055F-1C39-40EC-9806-CEE381A2E30C}" type="datetime'''''''''''''''''''''''''''''''''''''''''''''''''''''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B10E8B9-E803-44DC-A9ED-559574E7F3C5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3177381" y="2990527"/>
            <a:ext cx="214313" cy="160338"/>
          </a:xfrm>
          <a:prstGeom prst="rect">
            <a:avLst/>
          </a:prstGeom>
          <a:solidFill>
            <a:srgbClr val="003C64"/>
          </a:solidFill>
          <a:ln w="63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21F5875-E092-4DB7-B23E-126AB9EBEEBA}"/>
              </a:ext>
            </a:extLst>
          </p:cNvPr>
          <p:cNvSpPr/>
          <p:nvPr userDrawn="1">
            <p:custDataLst>
              <p:tags r:id="rId40"/>
            </p:custDataLst>
          </p:nvPr>
        </p:nvSpPr>
        <p:spPr bwMode="auto">
          <a:xfrm>
            <a:off x="3177381" y="2757166"/>
            <a:ext cx="214313" cy="160338"/>
          </a:xfrm>
          <a:prstGeom prst="rect">
            <a:avLst/>
          </a:prstGeom>
          <a:solidFill>
            <a:srgbClr val="009E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D8D9952D-C24B-4813-8C5C-3DBAE115CE47}"/>
              </a:ext>
            </a:extLst>
          </p:cNvPr>
          <p:cNvSpPr txBox="1">
            <a:spLocks/>
          </p:cNvSpPr>
          <p:nvPr userDrawn="1">
            <p:custDataLst>
              <p:tags r:id="rId41"/>
            </p:custDataLst>
          </p:nvPr>
        </p:nvSpPr>
        <p:spPr bwMode="auto">
          <a:xfrm>
            <a:off x="3442493" y="2985766"/>
            <a:ext cx="571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200" dirty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t>XX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D7AF435F-E928-420F-9319-6D135BCA4890}"/>
              </a:ext>
            </a:extLst>
          </p:cNvPr>
          <p:cNvSpPr txBox="1">
            <a:spLocks/>
          </p:cNvSpPr>
          <p:nvPr userDrawn="1">
            <p:custDataLst>
              <p:tags r:id="rId42"/>
            </p:custDataLst>
          </p:nvPr>
        </p:nvSpPr>
        <p:spPr bwMode="auto">
          <a:xfrm>
            <a:off x="3442493" y="2752403"/>
            <a:ext cx="11445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altLang="en-US" sz="1200" dirty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t>XX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121D64E5-4DEC-214D-855C-D01AA54987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667646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ie Grap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C71C2B09-814E-CE4D-9044-AB8FCCDBDB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Blank Pag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198043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e Graph">
    <p:bg>
      <p:bgPr>
        <a:blipFill dpi="0" rotWithShape="1">
          <a:blip r:embed="rId6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69E048B-C155-4AAE-8091-C9C90903DDE8}"/>
              </a:ext>
            </a:extLst>
          </p:cNvPr>
          <p:cNvCxnSpPr>
            <a:cxnSpLocks/>
          </p:cNvCxnSpPr>
          <p:nvPr userDrawn="1"/>
        </p:nvCxnSpPr>
        <p:spPr>
          <a:xfrm>
            <a:off x="4808838" y="2415704"/>
            <a:ext cx="0" cy="27035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DD84F33-2DB1-496A-8AFE-E56DF5018532}"/>
              </a:ext>
            </a:extLst>
          </p:cNvPr>
          <p:cNvCxnSpPr/>
          <p:nvPr userDrawn="1"/>
        </p:nvCxnSpPr>
        <p:spPr>
          <a:xfrm>
            <a:off x="4856463" y="2500635"/>
            <a:ext cx="555625" cy="0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1A016BCF-0EEB-466C-A2C2-91B26896B638}"/>
              </a:ext>
            </a:extLst>
          </p:cNvPr>
          <p:cNvSpPr/>
          <p:nvPr userDrawn="1"/>
        </p:nvSpPr>
        <p:spPr>
          <a:xfrm>
            <a:off x="5370468" y="2399035"/>
            <a:ext cx="935035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Forecast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448840D6-08C9-40AB-825C-A6BD0F31BD71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365006"/>
              </p:ext>
            </p:extLst>
          </p:nvPr>
        </p:nvGraphicFramePr>
        <p:xfrm>
          <a:off x="2476801" y="2279179"/>
          <a:ext cx="6938962" cy="2957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1A14CDE-4DB0-4218-8A4B-EE21CB613CC3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2251376" y="4754091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A6D7F0-A9B3-4A1F-AAEB-ACADB58FAFB0}" type="datetime'''''''''''''''''''''1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69EDB4-E8B5-4148-9311-F97BF9645B8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2251377" y="4442941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16E4C6-B59A-41F9-85A4-4E3FBE777929}" type="datetime'2''''''0''''''''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81E4673-9782-46DC-A556-7D8622AFE70E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2329163" y="5063654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2F63DC-8DF6-407C-A5E2-B29E31728F2A}" type="datetime'''''''''''''''''''''''''''''''''''''0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031FFE4F-5915-4220-8913-C067295A4DD1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2251376" y="3201516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D863A6-D93E-4089-BD35-512312536574}" type="datetime'''''''''''''''''''''''''''''''''''''''''6''''''0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F4C8FBF-546A-443E-BA83-A44B52CBF14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2251376" y="3822229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82616C-985B-477B-B528-3CE70A833D01}" type="datetime'''''''''''''''''''''''''''''''''''''4''''''0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6BE327F-7489-4C49-B4CA-356870572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 bwMode="gray">
          <a:xfrm>
            <a:off x="2251377" y="4133379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DA3ADD-545A-472B-914B-DD8FAB6C7EBB}" type="datetime'''''''''''''''3''''''''''''''0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C42EE74-3E20-4323-BBCA-931308C0AC1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2251377" y="3512666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474132-504E-4415-A267-E916CF140004}" type="datetime'''''''''''''''''''''''''''''''5''''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1641EBE-A1AC-4D91-9D07-58B9D5487CF4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2251377" y="2580804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89709B-48FE-45F0-9B54-27BB45B3F5E7}" type="datetime'8''''''''''''''''''''''''''''0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C7C9A3A-07B5-41EA-B957-B808F8510774}"/>
              </a:ext>
            </a:extLst>
          </p:cNvPr>
          <p:cNvSpPr>
            <a:spLocks noGrp="1"/>
          </p:cNvSpPr>
          <p:nvPr userDrawn="1">
            <p:custDataLst>
              <p:tags r:id="rId10"/>
            </p:custDataLst>
          </p:nvPr>
        </p:nvSpPr>
        <p:spPr bwMode="gray">
          <a:xfrm>
            <a:off x="2251376" y="2271241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C675E7-D7DB-4AB7-B6E7-11CCA989CE76}" type="datetime'''''''''''''''''''''''''''''''9''''''''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1200">
              <a:latin typeface="EF Circular Book" panose="020B0604020101020102"/>
              <a:sym typeface="EF Circular Book" panose="020B0604020101020102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1969C41-10C9-4C6D-9C14-8BC3A34AD041}"/>
              </a:ext>
            </a:extLst>
          </p:cNvPr>
          <p:cNvSpPr txBox="1">
            <a:spLocks/>
          </p:cNvSpPr>
          <p:nvPr userDrawn="1">
            <p:custDataLst>
              <p:tags r:id="rId11"/>
            </p:custDataLst>
          </p:nvPr>
        </p:nvSpPr>
        <p:spPr bwMode="gray">
          <a:xfrm>
            <a:off x="2251377" y="2891954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7A9764-E017-418D-A23A-3EA4608478BD}" type="datetime'''7''''''''''''''''''''''0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200">
              <a:sym typeface="EF Circular Book" panose="020B0604020101020102" pitchFamily="34" charset="77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BAEA38A-3741-4972-A30E-2AB689945093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 bwMode="auto">
          <a:xfrm>
            <a:off x="8485488" y="2809404"/>
            <a:ext cx="0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33BE821-71DE-43EB-B578-108F6C4B5B0E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 bwMode="auto">
          <a:xfrm>
            <a:off x="2894313" y="4714404"/>
            <a:ext cx="0" cy="390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3B32A13-EC4E-42FB-B368-601D3A82E0E6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 bwMode="auto">
          <a:xfrm>
            <a:off x="3970638" y="4933479"/>
            <a:ext cx="0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5BD540BD-2EDE-4D91-9F15-970F55264603}"/>
              </a:ext>
            </a:extLst>
          </p:cNvPr>
          <p:cNvCxnSpPr>
            <a:cxnSpLocks/>
          </p:cNvCxnSpPr>
          <p:nvPr userDrawn="1">
            <p:custDataLst>
              <p:tags r:id="rId15"/>
            </p:custDataLst>
          </p:nvPr>
        </p:nvCxnSpPr>
        <p:spPr bwMode="auto">
          <a:xfrm>
            <a:off x="2789538" y="5079529"/>
            <a:ext cx="0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E02AF87-4331-4128-AC43-54EA3B9194AA}"/>
              </a:ext>
            </a:extLst>
          </p:cNvPr>
          <p:cNvCxnSpPr/>
          <p:nvPr userDrawn="1">
            <p:custDataLst>
              <p:tags r:id="rId16"/>
            </p:custDataLst>
          </p:nvPr>
        </p:nvCxnSpPr>
        <p:spPr bwMode="auto">
          <a:xfrm>
            <a:off x="2867326" y="4714404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1D1C88C-D2A7-4FAB-B227-0F620BFA9C64}"/>
              </a:ext>
            </a:extLst>
          </p:cNvPr>
          <p:cNvCxnSpPr>
            <a:cxnSpLocks/>
          </p:cNvCxnSpPr>
          <p:nvPr userDrawn="1">
            <p:custDataLst>
              <p:tags r:id="rId17"/>
            </p:custDataLst>
          </p:nvPr>
        </p:nvCxnSpPr>
        <p:spPr bwMode="auto">
          <a:xfrm>
            <a:off x="9050638" y="2601441"/>
            <a:ext cx="0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4A06C4-20DA-46E6-8C45-7E4E1B59E5FF}"/>
              </a:ext>
            </a:extLst>
          </p:cNvPr>
          <p:cNvCxnSpPr>
            <a:cxnSpLocks/>
          </p:cNvCxnSpPr>
          <p:nvPr userDrawn="1">
            <p:custDataLst>
              <p:tags r:id="rId18"/>
            </p:custDataLst>
          </p:nvPr>
        </p:nvCxnSpPr>
        <p:spPr bwMode="auto">
          <a:xfrm>
            <a:off x="3430888" y="4649316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013914D-6525-4C29-BC7F-B917CD1EF910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 bwMode="auto">
          <a:xfrm>
            <a:off x="3457876" y="4649316"/>
            <a:ext cx="0" cy="392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E9D3028-6A2E-490D-B2A4-06097A449130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 bwMode="auto">
          <a:xfrm>
            <a:off x="6228063" y="4192116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7687575-9A3B-4564-AC90-032C9ED82141}"/>
              </a:ext>
            </a:extLst>
          </p:cNvPr>
          <p:cNvCxnSpPr>
            <a:cxnSpLocks/>
          </p:cNvCxnSpPr>
          <p:nvPr userDrawn="1">
            <p:custDataLst>
              <p:tags r:id="rId21"/>
            </p:custDataLst>
          </p:nvPr>
        </p:nvCxnSpPr>
        <p:spPr bwMode="auto">
          <a:xfrm>
            <a:off x="3353101" y="5014441"/>
            <a:ext cx="0" cy="841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DAC1397-FB85-4EE7-9C2A-A86B1EBCB8A8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 bwMode="auto">
          <a:xfrm>
            <a:off x="5099351" y="4692179"/>
            <a:ext cx="0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933DBD0-D4E8-4870-82F0-64ED7CF7BD9D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 bwMode="auto">
          <a:xfrm>
            <a:off x="4534201" y="4838229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D2505C3-C587-4712-90BA-205881C608F7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 bwMode="auto">
          <a:xfrm>
            <a:off x="5664501" y="4512791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1F725C5-F2F0-4519-BCD2-F19EE8DA508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 bwMode="auto">
          <a:xfrm>
            <a:off x="6793213" y="3639666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9A9601C-4299-442B-9C97-9C8EDDC7724A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 bwMode="auto">
          <a:xfrm>
            <a:off x="7356776" y="3406304"/>
            <a:ext cx="0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56101D2B-2999-4F5F-B416-C956E7607296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 bwMode="auto">
          <a:xfrm>
            <a:off x="7921926" y="3131666"/>
            <a:ext cx="0" cy="63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460D78B7-E95A-483B-8876-2A7AC3E165EF}"/>
              </a:ext>
            </a:extLst>
          </p:cNvPr>
          <p:cNvSpPr txBox="1">
            <a:spLocks/>
          </p:cNvSpPr>
          <p:nvPr userDrawn="1">
            <p:custDataLst>
              <p:tags r:id="rId28"/>
            </p:custDataLst>
          </p:nvPr>
        </p:nvSpPr>
        <p:spPr bwMode="gray">
          <a:xfrm>
            <a:off x="8323563" y="2444279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141EB7-ECB0-41AA-8CCA-9DD04A9EF021}" type="datetime'''3''''''.''1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1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6AD13E33-9A2E-4173-9AE7-DAE478D65307}" type="datetime'''''''4''''''''''''%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74E3FBD2-34FD-4225-BD86-F1EA97B0FCF6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6636052" y="4347691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F160E-615A-4004-A1C5-83D62501568E}" type="datetime'''''''''''''''''4''''6''''''''.''''2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2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2BC2ECD8-DF58-46EF-99D2-056628A573FF}"/>
              </a:ext>
            </a:extLst>
          </p:cNvPr>
          <p:cNvSpPr>
            <a:spLocks noGrp="1"/>
          </p:cNvSpPr>
          <p:nvPr userDrawn="1">
            <p:custDataLst>
              <p:tags r:id="rId30"/>
            </p:custDataLst>
          </p:nvPr>
        </p:nvSpPr>
        <p:spPr bwMode="auto">
          <a:xfrm>
            <a:off x="4880276" y="5204941"/>
            <a:ext cx="438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4C6B19-577D-4D01-B6EE-C93B524EE520}" type="datetime'F''''''''''e''b''''''''''''-''''''''''1''9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Feb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B8EC1884-07DB-4483-8DE0-7E0A9B66F7D6}"/>
              </a:ext>
            </a:extLst>
          </p:cNvPr>
          <p:cNvSpPr txBox="1">
            <a:spLocks/>
          </p:cNvSpPr>
          <p:nvPr userDrawn="1">
            <p:custDataLst>
              <p:tags r:id="rId31"/>
            </p:custDataLst>
          </p:nvPr>
        </p:nvSpPr>
        <p:spPr bwMode="gray">
          <a:xfrm>
            <a:off x="6631288" y="327454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7CFCA7-08BC-4FCC-966A-4A9F982551C8}" type="datetime'''''1.''''''''''''''''''''''''''''''''''''8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BB9AE9EB-1229-452F-8D15-26FD365EF5E3}" type="datetime'''4''''''''''''''''''''''''''''''''''''''%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57F6D7B8-3734-40EB-9790-6208063D8B09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2629201" y="4896966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3F5F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A7F9B9-7473-411B-A6CD-D9AF26976425}" type="datetime'1''.5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106B6E2E-BD22-4C85-BF1E-5F75BDFED844}"/>
              </a:ext>
            </a:extLst>
          </p:cNvPr>
          <p:cNvSpPr txBox="1">
            <a:spLocks/>
          </p:cNvSpPr>
          <p:nvPr userDrawn="1">
            <p:custDataLst>
              <p:tags r:id="rId33"/>
            </p:custDataLst>
          </p:nvPr>
        </p:nvSpPr>
        <p:spPr bwMode="gray">
          <a:xfrm>
            <a:off x="7764764" y="41032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C0D88-DF5E-49CC-A299-3AA8C328C5D1}" type="datetime'''''''''''''''''''''''''6''''1''''''''''.''''''''8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8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20A3E4CD-68FE-4A8D-81B2-AEEC935152AC}"/>
              </a:ext>
            </a:extLst>
          </p:cNvPr>
          <p:cNvSpPr txBox="1">
            <a:spLocks/>
          </p:cNvSpPr>
          <p:nvPr userDrawn="1">
            <p:custDataLst>
              <p:tags r:id="rId34"/>
            </p:custDataLst>
          </p:nvPr>
        </p:nvSpPr>
        <p:spPr bwMode="gray">
          <a:xfrm>
            <a:off x="4937426" y="432705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8EDB2F-DA26-4C91-9D27-C7EC35C9903D}" type="datetime'''''''''''''''''''''''''''''''''''''''0''.''''''5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77545610-D5B2-46F6-B0AA-0556864BF0EA}" type="datetime'''''''''''''''3''''''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sz="1200">
                <a:sym typeface="EF Circular Book" panose="020B0604020101020102" pitchFamily="34" charset="77"/>
              </a:rPr>
              <a:t>)</a:t>
            </a: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57E3CD71-3187-43DB-BF34-D1EE3F540AFC}"/>
              </a:ext>
            </a:extLst>
          </p:cNvPr>
          <p:cNvSpPr>
            <a:spLocks noGrp="1"/>
          </p:cNvSpPr>
          <p:nvPr userDrawn="1">
            <p:custDataLst>
              <p:tags r:id="rId35"/>
            </p:custDataLst>
          </p:nvPr>
        </p:nvSpPr>
        <p:spPr bwMode="auto">
          <a:xfrm>
            <a:off x="7145639" y="5204941"/>
            <a:ext cx="422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661757-EAA5-47EE-B605-7DCC75AB9A22}" type="datetime'''''J''''''''''u''''n-''''1''''''''9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n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82DE83A-9DD9-473C-8663-E9E720ED0C71}"/>
              </a:ext>
            </a:extLst>
          </p:cNvPr>
          <p:cNvSpPr txBox="1">
            <a:spLocks/>
          </p:cNvSpPr>
          <p:nvPr userDrawn="1">
            <p:custDataLst>
              <p:tags r:id="rId36"/>
            </p:custDataLst>
          </p:nvPr>
        </p:nvSpPr>
        <p:spPr bwMode="gray">
          <a:xfrm>
            <a:off x="3107038" y="446675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3B4D32-067C-4C3D-99F4-27B9BBDA32D6}" type="datetime'''''0.''''1''''''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br>
              <a:rPr lang="en-US" altLang="en-US" sz="1200"/>
            </a:br>
            <a:r>
              <a:rPr lang="en-US" altLang="en-US" sz="1200"/>
              <a:t>(</a:t>
            </a:r>
            <a:fld id="{D07AC8D4-C620-4F18-A524-84DCF8683EBB}" type="datetime'''''''''3''''''''''''''%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AFF527BF-4191-4BF6-A974-80A4A0EFFCBB}"/>
              </a:ext>
            </a:extLst>
          </p:cNvPr>
          <p:cNvSpPr txBox="1">
            <a:spLocks/>
          </p:cNvSpPr>
          <p:nvPr userDrawn="1">
            <p:custDataLst>
              <p:tags r:id="rId37"/>
            </p:custDataLst>
          </p:nvPr>
        </p:nvSpPr>
        <p:spPr bwMode="gray">
          <a:xfrm>
            <a:off x="8893476" y="3852391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F2AA79-BA4E-4671-8E3E-1A63AE8A2A91}" type="datetime'''7''''''''''''''''''8''''.''''''''''''''''''''''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B8FEE96F-C100-4F24-9F7A-1BAA6665E2F0}"/>
              </a:ext>
            </a:extLst>
          </p:cNvPr>
          <p:cNvSpPr>
            <a:spLocks noGrp="1"/>
          </p:cNvSpPr>
          <p:nvPr userDrawn="1">
            <p:custDataLst>
              <p:tags r:id="rId38"/>
            </p:custDataLst>
          </p:nvPr>
        </p:nvSpPr>
        <p:spPr bwMode="auto">
          <a:xfrm>
            <a:off x="2626026" y="5204941"/>
            <a:ext cx="431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9DB19B-BEDA-4BB1-8BF9-F41DD9698AF9}" type="datetime'O''''''c''''t''''''-''1''''''''''''''''''8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Oct-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30C6EEC9-B5CD-4FA4-AC55-8D8B09AD867B}"/>
              </a:ext>
            </a:extLst>
          </p:cNvPr>
          <p:cNvSpPr txBox="1">
            <a:spLocks/>
          </p:cNvSpPr>
          <p:nvPr userDrawn="1">
            <p:custDataLst>
              <p:tags r:id="rId39"/>
            </p:custDataLst>
          </p:nvPr>
        </p:nvSpPr>
        <p:spPr bwMode="gray">
          <a:xfrm>
            <a:off x="3851576" y="4968404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996998-5E5E-41F4-A4C2-1B3714DF54AB}" type="datetime'''''''6''''''''''''''''''''''''''.''''''''''''''1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1</a:t>
            </a:fld>
            <a:endParaRPr lang="en-US" sz="1200">
              <a:solidFill>
                <a:schemeClr val="bg1"/>
              </a:solidFill>
              <a:sym typeface="EF Circular Book" panose="020B0604020101020102" pitchFamily="34" charset="77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D7F5C537-2879-4515-9BBC-286EAC622CFC}"/>
              </a:ext>
            </a:extLst>
          </p:cNvPr>
          <p:cNvSpPr>
            <a:spLocks noGrp="1"/>
          </p:cNvSpPr>
          <p:nvPr userDrawn="1">
            <p:custDataLst>
              <p:tags r:id="rId40"/>
            </p:custDataLst>
          </p:nvPr>
        </p:nvSpPr>
        <p:spPr bwMode="auto">
          <a:xfrm>
            <a:off x="7733013" y="5204941"/>
            <a:ext cx="3778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98C7AE-9E84-4B6C-9046-A48E4CCD447E}" type="datetime'''J''''''''''''''''''''''''''''''''''''''''ul-19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l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F1F92407-0DAC-43B9-A3D7-F4E8C82715B5}"/>
              </a:ext>
            </a:extLst>
          </p:cNvPr>
          <p:cNvSpPr>
            <a:spLocks noGrp="1"/>
          </p:cNvSpPr>
          <p:nvPr userDrawn="1">
            <p:custDataLst>
              <p:tags r:id="rId41"/>
            </p:custDataLst>
          </p:nvPr>
        </p:nvSpPr>
        <p:spPr bwMode="auto">
          <a:xfrm>
            <a:off x="8258476" y="5204941"/>
            <a:ext cx="454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34CF9EB-DC93-486E-8311-9366E8955533}" type="datetime'''A''''u''''''''g''''''''-''1''''''''9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ug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4C1223C5-27A5-46C4-98CE-605305EC2CCC}"/>
              </a:ext>
            </a:extLst>
          </p:cNvPr>
          <p:cNvSpPr txBox="1">
            <a:spLocks/>
          </p:cNvSpPr>
          <p:nvPr userDrawn="1">
            <p:custDataLst>
              <p:tags r:id="rId42"/>
            </p:custDataLst>
          </p:nvPr>
        </p:nvSpPr>
        <p:spPr bwMode="gray">
          <a:xfrm>
            <a:off x="3192763" y="4831879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43A4B-45B3-44CE-8816-9109EDB61802}" type="datetime'''''3''''''.6''''''''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6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7CE12F98-6CFB-4090-B464-CCCFC0546373}"/>
              </a:ext>
            </a:extLst>
          </p:cNvPr>
          <p:cNvSpPr>
            <a:spLocks noGrp="1"/>
          </p:cNvSpPr>
          <p:nvPr userDrawn="1">
            <p:custDataLst>
              <p:tags r:id="rId43"/>
            </p:custDataLst>
          </p:nvPr>
        </p:nvSpPr>
        <p:spPr bwMode="auto">
          <a:xfrm>
            <a:off x="3175302" y="5204941"/>
            <a:ext cx="4619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DB09957-BE57-4291-8F44-7979081AFBDF}" type="datetime'''''N''''''''ov''''''''''''''-''1''''''''''''''''8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Nov-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1512102-C60F-4B56-97DE-A87476B59916}"/>
              </a:ext>
            </a:extLst>
          </p:cNvPr>
          <p:cNvSpPr>
            <a:spLocks noGrp="1"/>
          </p:cNvSpPr>
          <p:nvPr userDrawn="1">
            <p:custDataLst>
              <p:tags r:id="rId44"/>
            </p:custDataLst>
          </p:nvPr>
        </p:nvSpPr>
        <p:spPr bwMode="auto">
          <a:xfrm>
            <a:off x="3746801" y="5204941"/>
            <a:ext cx="4492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416DA05-FA05-458D-A1C4-8610D29F7D72}" type="datetime'''''D''''''''''''''''''''''''''''''''e''c''-1''''''8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Dec-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F578A940-AEDF-4CC7-AC94-7C5A9E26038F}"/>
              </a:ext>
            </a:extLst>
          </p:cNvPr>
          <p:cNvSpPr txBox="1">
            <a:spLocks/>
          </p:cNvSpPr>
          <p:nvPr userDrawn="1">
            <p:custDataLst>
              <p:tags r:id="rId45"/>
            </p:custDataLst>
          </p:nvPr>
        </p:nvSpPr>
        <p:spPr bwMode="gray">
          <a:xfrm>
            <a:off x="3808713" y="456835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854F3-7995-4575-B04D-2761F6487B47}" type="datetime'''''''''''''0''''.''''''''''2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br>
              <a:rPr lang="en-US" altLang="en-US" sz="1200"/>
            </a:br>
            <a:r>
              <a:rPr lang="en-US" altLang="en-US" sz="1200"/>
              <a:t>(</a:t>
            </a:r>
            <a:fld id="{91014457-0525-46DA-8EA2-8B13A2976189}" type="datetime'''''''''''''''''''''''''''''3''%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424BD410-A575-4C54-8257-626D7C63CB07}"/>
              </a:ext>
            </a:extLst>
          </p:cNvPr>
          <p:cNvSpPr>
            <a:spLocks noGrp="1"/>
          </p:cNvSpPr>
          <p:nvPr userDrawn="1">
            <p:custDataLst>
              <p:tags r:id="rId46"/>
            </p:custDataLst>
          </p:nvPr>
        </p:nvSpPr>
        <p:spPr bwMode="auto">
          <a:xfrm>
            <a:off x="5429551" y="5204941"/>
            <a:ext cx="469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967FB2-2BA7-4EFD-8902-AA56C7CF524E}" type="datetime'M''''''a''''''''''r-''''''''''''''''''''''''1''''''''''9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r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B2486EDD-F904-4F69-BDAF-504BFE88190A}"/>
              </a:ext>
            </a:extLst>
          </p:cNvPr>
          <p:cNvSpPr txBox="1">
            <a:spLocks/>
          </p:cNvSpPr>
          <p:nvPr userDrawn="1">
            <p:custDataLst>
              <p:tags r:id="rId47"/>
            </p:custDataLst>
          </p:nvPr>
        </p:nvSpPr>
        <p:spPr bwMode="gray">
          <a:xfrm>
            <a:off x="4415138" y="4922366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BA7182-2277-4B16-BE2A-D5DEF15E08EB}" type="datetime'''9''.''''''''''''''''''''''''0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</a:t>
            </a:fld>
            <a:endParaRPr lang="en-US" sz="1200" dirty="0">
              <a:solidFill>
                <a:schemeClr val="bg1"/>
              </a:solidFill>
              <a:sym typeface="EF Circular Book" panose="020B0604020101020102" pitchFamily="34" charset="77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808BF81C-42AB-4F79-A63E-415B57158779}"/>
              </a:ext>
            </a:extLst>
          </p:cNvPr>
          <p:cNvSpPr txBox="1">
            <a:spLocks/>
          </p:cNvSpPr>
          <p:nvPr userDrawn="1">
            <p:custDataLst>
              <p:tags r:id="rId48"/>
            </p:custDataLst>
          </p:nvPr>
        </p:nvSpPr>
        <p:spPr bwMode="gray">
          <a:xfrm>
            <a:off x="4372276" y="447310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2D7E2A-52D3-42A8-AF99-D76A86FE722E}" type="datetime'''''''0''''''.''''''''''''''''''''''''3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br>
              <a:rPr lang="en-US" altLang="en-US" sz="1200"/>
            </a:br>
            <a:r>
              <a:rPr lang="en-US" altLang="en-US" sz="1200"/>
              <a:t>(</a:t>
            </a:r>
            <a:fld id="{B07DBBBA-C2D8-4A0A-9118-BFA1C02ACA4A}" type="datetime'''''''''''''''''''''''''''''''''3''''%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E7F1AB18-7F1F-4842-A40E-8A00C4BFFF1B}"/>
              </a:ext>
            </a:extLst>
          </p:cNvPr>
          <p:cNvSpPr>
            <a:spLocks noGrp="1"/>
          </p:cNvSpPr>
          <p:nvPr userDrawn="1">
            <p:custDataLst>
              <p:tags r:id="rId49"/>
            </p:custDataLst>
          </p:nvPr>
        </p:nvSpPr>
        <p:spPr bwMode="auto">
          <a:xfrm>
            <a:off x="6010577" y="5204941"/>
            <a:ext cx="4349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EEBC2FB-D989-40F3-AF68-297D1AAD6B77}" type="datetime'''''''''''''''A''''''''pr''''''''''-''''1''''''9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pr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302867F8-0505-4C0B-B8DE-22469C5CDD26}"/>
              </a:ext>
            </a:extLst>
          </p:cNvPr>
          <p:cNvSpPr txBox="1">
            <a:spLocks/>
          </p:cNvSpPr>
          <p:nvPr userDrawn="1">
            <p:custDataLst>
              <p:tags r:id="rId50"/>
            </p:custDataLst>
          </p:nvPr>
        </p:nvSpPr>
        <p:spPr bwMode="gray">
          <a:xfrm>
            <a:off x="4942189" y="48525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3F5F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FC003-1458-4CC0-B904-6B01DE7CA883}" type="datetime'''''''1''''''''''''''3''''''''''''''''.''''6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6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6A9F0F35-B5DC-4F6E-B476-D8459D02396D}"/>
              </a:ext>
            </a:extLst>
          </p:cNvPr>
          <p:cNvSpPr txBox="1">
            <a:spLocks/>
          </p:cNvSpPr>
          <p:nvPr userDrawn="1">
            <p:custDataLst>
              <p:tags r:id="rId51"/>
            </p:custDataLst>
          </p:nvPr>
        </p:nvSpPr>
        <p:spPr bwMode="gray">
          <a:xfrm>
            <a:off x="8328326" y="39508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5838-638B-4230-AEF7-18B14471DEC2}" type="datetime'''''''71''''''''''''''''.7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7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5008B20C-F222-448D-BF17-58CB954167F9}"/>
              </a:ext>
            </a:extLst>
          </p:cNvPr>
          <p:cNvSpPr txBox="1">
            <a:spLocks/>
          </p:cNvSpPr>
          <p:nvPr userDrawn="1">
            <p:custDataLst>
              <p:tags r:id="rId52"/>
            </p:custDataLst>
          </p:nvPr>
        </p:nvSpPr>
        <p:spPr bwMode="gray">
          <a:xfrm>
            <a:off x="5502576" y="4147666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82F79E-D049-4B78-B790-BEB6CC03D6B5}" type="datetime'0''''''''''''''''''''''''.''''7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DE9D0A1C-61F9-4B61-8CCB-316899510202}" type="datetime'''''''''''''''3%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6B03876C-87FF-482A-9455-F63720E49F6A}"/>
              </a:ext>
            </a:extLst>
          </p:cNvPr>
          <p:cNvSpPr txBox="1">
            <a:spLocks/>
          </p:cNvSpPr>
          <p:nvPr userDrawn="1">
            <p:custDataLst>
              <p:tags r:id="rId53"/>
            </p:custDataLst>
          </p:nvPr>
        </p:nvSpPr>
        <p:spPr bwMode="gray">
          <a:xfrm>
            <a:off x="5507338" y="4765204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3F5F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2A71E-9C5E-40D4-9A3A-B566E5F3C014}" type="datetime'''''''''''1''''''''''9''''''.2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2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359A5EA2-4664-47BB-9E56-43E0668F2F07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 bwMode="gray">
          <a:xfrm>
            <a:off x="6070901" y="46112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9F4C9-3855-4CC3-9F27-79F80ECFEF94}" type="datetime'''''''''''''''''''2''''''''''''''''''''9''''''.''''''1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1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28C77A-3219-4E05-AA21-5F44EF0A75C4}"/>
              </a:ext>
            </a:extLst>
          </p:cNvPr>
          <p:cNvSpPr>
            <a:spLocks noGrp="1"/>
          </p:cNvSpPr>
          <p:nvPr userDrawn="1">
            <p:custDataLst>
              <p:tags r:id="rId55"/>
            </p:custDataLst>
          </p:nvPr>
        </p:nvSpPr>
        <p:spPr bwMode="auto">
          <a:xfrm>
            <a:off x="4326239" y="5204941"/>
            <a:ext cx="4159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19D55B2-72D6-4F56-BA1F-5F40D73E7EB1}" type="datetime'''''''''''''Ja''''''''''''''''''''''n''''''-''''''19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an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A38A8A07-1E87-4E27-9724-254EC7E25C93}"/>
              </a:ext>
            </a:extLst>
          </p:cNvPr>
          <p:cNvSpPr>
            <a:spLocks noGrp="1"/>
          </p:cNvSpPr>
          <p:nvPr userDrawn="1">
            <p:custDataLst>
              <p:tags r:id="rId56"/>
            </p:custDataLst>
          </p:nvPr>
        </p:nvSpPr>
        <p:spPr bwMode="auto">
          <a:xfrm>
            <a:off x="6551913" y="5204941"/>
            <a:ext cx="4826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571E6AB-F7FD-4A56-8FAD-B276FF1F06AD}" type="datetime'M''''''a''''''''''''''''''y''''''''-''''1''''''''''9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y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586F74B5-909F-4A1A-AF9B-954A80D4EAA2}"/>
              </a:ext>
            </a:extLst>
          </p:cNvPr>
          <p:cNvSpPr txBox="1">
            <a:spLocks/>
          </p:cNvSpPr>
          <p:nvPr userDrawn="1">
            <p:custDataLst>
              <p:tags r:id="rId57"/>
            </p:custDataLst>
          </p:nvPr>
        </p:nvSpPr>
        <p:spPr bwMode="gray">
          <a:xfrm>
            <a:off x="6066138" y="382699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9BFE16-9B27-4C60-BA04-5A7A90560AFB}" type="datetime'''''''''''''''''1''''''''''''''''''''''''''''''''''.1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54D687E7-F4E1-4767-8649-877012500A39}" type="datetime'''''''''''''''''''''''''4''''''''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07AC383-AD61-49E2-AE35-6E42175E0C55}"/>
              </a:ext>
            </a:extLst>
          </p:cNvPr>
          <p:cNvSpPr txBox="1">
            <a:spLocks/>
          </p:cNvSpPr>
          <p:nvPr userDrawn="1">
            <p:custDataLst>
              <p:tags r:id="rId58"/>
            </p:custDataLst>
          </p:nvPr>
        </p:nvSpPr>
        <p:spPr bwMode="gray">
          <a:xfrm>
            <a:off x="7194851" y="3041179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3DB884-DDC8-4F31-BF6D-E04FA212076B}" type="datetime'''''''''''''''''''''2''''''''.1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1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5AC74F2F-EF05-4717-B9CF-425CDB8A829D}" type="datetime'''''''''''''''''4%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8650676E-70AC-4010-AC9D-FE912568FC54}"/>
              </a:ext>
            </a:extLst>
          </p:cNvPr>
          <p:cNvSpPr txBox="1">
            <a:spLocks/>
          </p:cNvSpPr>
          <p:nvPr userDrawn="1">
            <p:custDataLst>
              <p:tags r:id="rId59"/>
            </p:custDataLst>
          </p:nvPr>
        </p:nvSpPr>
        <p:spPr bwMode="gray">
          <a:xfrm>
            <a:off x="7199613" y="4234979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F025E-0E19-4E1D-8A94-2CE09C0B54A4}" type="datetime'''''''''''''''''''5''''3''''''.''''''''''''''4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4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CAD0FE1E-96AB-4FBF-B685-3BE8A46E1FC9}"/>
              </a:ext>
            </a:extLst>
          </p:cNvPr>
          <p:cNvSpPr txBox="1">
            <a:spLocks/>
          </p:cNvSpPr>
          <p:nvPr userDrawn="1">
            <p:custDataLst>
              <p:tags r:id="rId60"/>
            </p:custDataLst>
          </p:nvPr>
        </p:nvSpPr>
        <p:spPr bwMode="gray">
          <a:xfrm>
            <a:off x="2543476" y="453184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F2F46-A032-45C1-BA37-27BF807CC66B}" type="datetime'''''''''''''''''''0''''''.1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br>
              <a:rPr lang="en-US" altLang="en-US" sz="1200"/>
            </a:br>
            <a:r>
              <a:rPr lang="en-US" altLang="en-US" sz="1200"/>
              <a:t>(</a:t>
            </a:r>
            <a:fld id="{D9A73070-9372-432B-BAC0-A0FD616903BE}" type="datetime'''''''''''''''''''''''''''4''''''''''''''%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0FA36148-1E1E-485B-8B1A-AA6E326270E1}"/>
              </a:ext>
            </a:extLst>
          </p:cNvPr>
          <p:cNvSpPr txBox="1">
            <a:spLocks/>
          </p:cNvSpPr>
          <p:nvPr userDrawn="1">
            <p:custDataLst>
              <p:tags r:id="rId61"/>
            </p:custDataLst>
          </p:nvPr>
        </p:nvSpPr>
        <p:spPr bwMode="gray">
          <a:xfrm>
            <a:off x="7760001" y="276654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EF4C52-E34C-4E6F-8023-79ABD5FD5088}" type="datetime'''''''''''''''''2''.5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E9E51386-4233-4945-8880-406EE4CCD8C5}" type="datetime'''''''''''''''''''''4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362FA4F1-2BBF-46DB-9ADB-C0227CA25153}"/>
              </a:ext>
            </a:extLst>
          </p:cNvPr>
          <p:cNvSpPr txBox="1">
            <a:spLocks/>
          </p:cNvSpPr>
          <p:nvPr userDrawn="1">
            <p:custDataLst>
              <p:tags r:id="rId62"/>
            </p:custDataLst>
          </p:nvPr>
        </p:nvSpPr>
        <p:spPr bwMode="gray">
          <a:xfrm>
            <a:off x="8888713" y="2236316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01C8DE-F610-4A42-9D77-674907E06124}" type="datetime'''''''''''''''''''''''''''''''''''''''''''''3''.''''4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60F87E58-CDF6-40C0-A1F2-1AE5A3E3497D}" type="datetime'''''''''4''''''%''''''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6613AA48-01D0-4741-8B0D-E09A289D77A9}"/>
              </a:ext>
            </a:extLst>
          </p:cNvPr>
          <p:cNvSpPr>
            <a:spLocks noGrp="1"/>
          </p:cNvSpPr>
          <p:nvPr userDrawn="1">
            <p:custDataLst>
              <p:tags r:id="rId63"/>
            </p:custDataLst>
          </p:nvPr>
        </p:nvSpPr>
        <p:spPr bwMode="auto">
          <a:xfrm>
            <a:off x="8831563" y="5204941"/>
            <a:ext cx="4397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7D989F-8AF7-4158-97D4-92E9A65C90B4}" type="datetime'''S''''''ep''''''-''''''19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Sep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DD8E1F4-6A9F-432C-9AFE-FAAD13C8D4E2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2619676" y="2426816"/>
            <a:ext cx="214313" cy="160338"/>
          </a:xfrm>
          <a:prstGeom prst="rect">
            <a:avLst/>
          </a:prstGeom>
          <a:solidFill>
            <a:srgbClr val="009EEB"/>
          </a:solidFill>
          <a:ln w="63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8E6F764D-3863-42B3-93B0-BF1379B31378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3186413" y="2426816"/>
            <a:ext cx="214313" cy="160338"/>
          </a:xfrm>
          <a:prstGeom prst="rect">
            <a:avLst/>
          </a:prstGeom>
          <a:solidFill>
            <a:srgbClr val="003F5F"/>
          </a:solidFill>
          <a:ln w="63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FF70C9AD-C4D2-46C5-A896-EE9D9FD854E5}"/>
              </a:ext>
            </a:extLst>
          </p:cNvPr>
          <p:cNvSpPr txBox="1">
            <a:spLocks/>
          </p:cNvSpPr>
          <p:nvPr userDrawn="1">
            <p:custDataLst>
              <p:tags r:id="rId66"/>
            </p:custDataLst>
          </p:nvPr>
        </p:nvSpPr>
        <p:spPr bwMode="auto">
          <a:xfrm>
            <a:off x="2884788" y="2422054"/>
            <a:ext cx="200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xxx</a:t>
            </a:r>
            <a:endParaRPr lang="en-US" sz="1200" dirty="0">
              <a:sym typeface="EF Circular Book" panose="020B0604020101020102" pitchFamily="34" charset="77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5C3FB284-29EE-4A24-9F36-3849BE6D5685}"/>
              </a:ext>
            </a:extLst>
          </p:cNvPr>
          <p:cNvSpPr txBox="1">
            <a:spLocks/>
          </p:cNvSpPr>
          <p:nvPr userDrawn="1">
            <p:custDataLst>
              <p:tags r:id="rId67"/>
            </p:custDataLst>
          </p:nvPr>
        </p:nvSpPr>
        <p:spPr bwMode="auto">
          <a:xfrm>
            <a:off x="3451526" y="2422054"/>
            <a:ext cx="200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xxx</a:t>
            </a:r>
            <a:endParaRPr lang="en-US" sz="1200" dirty="0">
              <a:sym typeface="EF Circular Book" panose="020B0604020101020102" pitchFamily="34" charset="77"/>
            </a:endParaRP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04184CB7-1F3D-4D49-ADB2-8F5463FEC8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996052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-lined title cov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9FD5401-2D9E-5E43-8B57-C3C7EF391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411" y="1259647"/>
            <a:ext cx="5608590" cy="907083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goes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8181683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e Grap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69E048B-C155-4AAE-8091-C9C90903DDE8}"/>
              </a:ext>
            </a:extLst>
          </p:cNvPr>
          <p:cNvCxnSpPr>
            <a:cxnSpLocks/>
          </p:cNvCxnSpPr>
          <p:nvPr userDrawn="1"/>
        </p:nvCxnSpPr>
        <p:spPr>
          <a:xfrm>
            <a:off x="4808838" y="2415704"/>
            <a:ext cx="0" cy="27035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DD84F33-2DB1-496A-8AFE-E56DF5018532}"/>
              </a:ext>
            </a:extLst>
          </p:cNvPr>
          <p:cNvCxnSpPr/>
          <p:nvPr userDrawn="1"/>
        </p:nvCxnSpPr>
        <p:spPr>
          <a:xfrm>
            <a:off x="4856463" y="2500635"/>
            <a:ext cx="555625" cy="0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1A016BCF-0EEB-466C-A2C2-91B26896B638}"/>
              </a:ext>
            </a:extLst>
          </p:cNvPr>
          <p:cNvSpPr/>
          <p:nvPr userDrawn="1"/>
        </p:nvSpPr>
        <p:spPr>
          <a:xfrm>
            <a:off x="5370468" y="2399035"/>
            <a:ext cx="935035" cy="20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Forecast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448840D6-08C9-40AB-825C-A6BD0F31BD71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350949"/>
              </p:ext>
            </p:extLst>
          </p:nvPr>
        </p:nvGraphicFramePr>
        <p:xfrm>
          <a:off x="2476801" y="2279179"/>
          <a:ext cx="6938962" cy="2957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1A14CDE-4DB0-4218-8A4B-EE21CB613CC3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2251376" y="4754091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A6D7F0-A9B3-4A1F-AAEB-ACADB58FAFB0}" type="datetime'''''''''''''''''''''1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69EDB4-E8B5-4148-9311-F97BF9645B8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2251377" y="4442941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16E4C6-B59A-41F9-85A4-4E3FBE777929}" type="datetime'2''''''0''''''''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81E4673-9782-46DC-A556-7D8622AFE70E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2329163" y="5063654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2F63DC-8DF6-407C-A5E2-B29E31728F2A}" type="datetime'''''''''''''''''''''''''''''''''''''0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031FFE4F-5915-4220-8913-C067295A4DD1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2251376" y="3201516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D863A6-D93E-4089-BD35-512312536574}" type="datetime'''''''''''''''''''''''''''''''''''''''''6''''''0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F4C8FBF-546A-443E-BA83-A44B52CBF14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2251376" y="3822229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82616C-985B-477B-B528-3CE70A833D01}" type="datetime'''''''''''''''''''''''''''''''''''''4''''''0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6BE327F-7489-4C49-B4CA-356870572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 bwMode="gray">
          <a:xfrm>
            <a:off x="2251377" y="4133379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DA3ADD-545A-472B-914B-DD8FAB6C7EBB}" type="datetime'''''''''''''''3''''''''''''''0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C42EE74-3E20-4323-BBCA-931308C0AC1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2251377" y="3512666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474132-504E-4415-A267-E916CF140004}" type="datetime'''''''''''''''''''''''''''''''5''''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51641EBE-A1AC-4D91-9D07-58B9D5487CF4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2251377" y="2580804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89709B-48FE-45F0-9B54-27BB45B3F5E7}" type="datetime'8''''''''''''''''''''''''''''0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C7C9A3A-07B5-41EA-B957-B808F8510774}"/>
              </a:ext>
            </a:extLst>
          </p:cNvPr>
          <p:cNvSpPr>
            <a:spLocks noGrp="1"/>
          </p:cNvSpPr>
          <p:nvPr userDrawn="1">
            <p:custDataLst>
              <p:tags r:id="rId10"/>
            </p:custDataLst>
          </p:nvPr>
        </p:nvSpPr>
        <p:spPr bwMode="gray">
          <a:xfrm>
            <a:off x="2251376" y="2271241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C675E7-D7DB-4AB7-B6E7-11CCA989CE76}" type="datetime'''''''''''''''''''''''''''''''9''''''''0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1200">
              <a:latin typeface="EF Circular Book" panose="020B0604020101020102"/>
              <a:sym typeface="EF Circular Book" panose="020B0604020101020102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1969C41-10C9-4C6D-9C14-8BC3A34AD041}"/>
              </a:ext>
            </a:extLst>
          </p:cNvPr>
          <p:cNvSpPr txBox="1">
            <a:spLocks/>
          </p:cNvSpPr>
          <p:nvPr userDrawn="1">
            <p:custDataLst>
              <p:tags r:id="rId11"/>
            </p:custDataLst>
          </p:nvPr>
        </p:nvSpPr>
        <p:spPr bwMode="gray">
          <a:xfrm>
            <a:off x="2251377" y="2891954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7A9764-E017-418D-A23A-3EA4608478BD}" type="datetime'''7''''''''''''''''''''''0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200">
              <a:sym typeface="EF Circular Book" panose="020B0604020101020102" pitchFamily="34" charset="77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BAEA38A-3741-4972-A30E-2AB689945093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 bwMode="auto">
          <a:xfrm>
            <a:off x="8485488" y="2809404"/>
            <a:ext cx="0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33BE821-71DE-43EB-B578-108F6C4B5B0E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 bwMode="auto">
          <a:xfrm>
            <a:off x="2894313" y="4714404"/>
            <a:ext cx="0" cy="390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3B32A13-EC4E-42FB-B368-601D3A82E0E6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 bwMode="auto">
          <a:xfrm>
            <a:off x="3970638" y="4933479"/>
            <a:ext cx="0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5BD540BD-2EDE-4D91-9F15-970F55264603}"/>
              </a:ext>
            </a:extLst>
          </p:cNvPr>
          <p:cNvCxnSpPr>
            <a:cxnSpLocks/>
          </p:cNvCxnSpPr>
          <p:nvPr userDrawn="1">
            <p:custDataLst>
              <p:tags r:id="rId15"/>
            </p:custDataLst>
          </p:nvPr>
        </p:nvCxnSpPr>
        <p:spPr bwMode="auto">
          <a:xfrm>
            <a:off x="2789538" y="5079529"/>
            <a:ext cx="0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E02AF87-4331-4128-AC43-54EA3B9194AA}"/>
              </a:ext>
            </a:extLst>
          </p:cNvPr>
          <p:cNvCxnSpPr/>
          <p:nvPr userDrawn="1">
            <p:custDataLst>
              <p:tags r:id="rId16"/>
            </p:custDataLst>
          </p:nvPr>
        </p:nvCxnSpPr>
        <p:spPr bwMode="auto">
          <a:xfrm>
            <a:off x="2867326" y="4714404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1D1C88C-D2A7-4FAB-B227-0F620BFA9C64}"/>
              </a:ext>
            </a:extLst>
          </p:cNvPr>
          <p:cNvCxnSpPr>
            <a:cxnSpLocks/>
          </p:cNvCxnSpPr>
          <p:nvPr userDrawn="1">
            <p:custDataLst>
              <p:tags r:id="rId17"/>
            </p:custDataLst>
          </p:nvPr>
        </p:nvCxnSpPr>
        <p:spPr bwMode="auto">
          <a:xfrm>
            <a:off x="9050638" y="2601441"/>
            <a:ext cx="0" cy="777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B54A06C4-20DA-46E6-8C45-7E4E1B59E5FF}"/>
              </a:ext>
            </a:extLst>
          </p:cNvPr>
          <p:cNvCxnSpPr>
            <a:cxnSpLocks/>
          </p:cNvCxnSpPr>
          <p:nvPr userDrawn="1">
            <p:custDataLst>
              <p:tags r:id="rId18"/>
            </p:custDataLst>
          </p:nvPr>
        </p:nvCxnSpPr>
        <p:spPr bwMode="auto">
          <a:xfrm>
            <a:off x="3430888" y="4649316"/>
            <a:ext cx="269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013914D-6525-4C29-BC7F-B917CD1EF910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 bwMode="auto">
          <a:xfrm>
            <a:off x="3457876" y="4649316"/>
            <a:ext cx="0" cy="392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E9D3028-6A2E-490D-B2A4-06097A449130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 bwMode="auto">
          <a:xfrm>
            <a:off x="6228063" y="4192116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7687575-9A3B-4564-AC90-032C9ED82141}"/>
              </a:ext>
            </a:extLst>
          </p:cNvPr>
          <p:cNvCxnSpPr>
            <a:cxnSpLocks/>
          </p:cNvCxnSpPr>
          <p:nvPr userDrawn="1">
            <p:custDataLst>
              <p:tags r:id="rId21"/>
            </p:custDataLst>
          </p:nvPr>
        </p:nvCxnSpPr>
        <p:spPr bwMode="auto">
          <a:xfrm>
            <a:off x="3353101" y="5014441"/>
            <a:ext cx="0" cy="841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DAC1397-FB85-4EE7-9C2A-A86B1EBCB8A8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 bwMode="auto">
          <a:xfrm>
            <a:off x="5099351" y="4692179"/>
            <a:ext cx="0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933DBD0-D4E8-4870-82F0-64ED7CF7BD9D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 bwMode="auto">
          <a:xfrm>
            <a:off x="4534201" y="4838229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D2505C3-C587-4712-90BA-205881C608F7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 bwMode="auto">
          <a:xfrm>
            <a:off x="5664501" y="4512791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1F725C5-F2F0-4519-BCD2-F19EE8DA508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 bwMode="auto">
          <a:xfrm>
            <a:off x="6793213" y="3639666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9A9601C-4299-442B-9C97-9C8EDDC7724A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 bwMode="auto">
          <a:xfrm>
            <a:off x="7356776" y="3406304"/>
            <a:ext cx="0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56101D2B-2999-4F5F-B416-C956E7607296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 bwMode="auto">
          <a:xfrm>
            <a:off x="7921926" y="3131666"/>
            <a:ext cx="0" cy="63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460D78B7-E95A-483B-8876-2A7AC3E165EF}"/>
              </a:ext>
            </a:extLst>
          </p:cNvPr>
          <p:cNvSpPr txBox="1">
            <a:spLocks/>
          </p:cNvSpPr>
          <p:nvPr userDrawn="1">
            <p:custDataLst>
              <p:tags r:id="rId28"/>
            </p:custDataLst>
          </p:nvPr>
        </p:nvSpPr>
        <p:spPr bwMode="gray">
          <a:xfrm>
            <a:off x="8323563" y="2444279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141EB7-ECB0-41AA-8CCA-9DD04A9EF021}" type="datetime'''3''''''.''1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1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6AD13E33-9A2E-4173-9AE7-DAE478D65307}" type="datetime'''''''4''''''''''''%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74E3FBD2-34FD-4225-BD86-F1EA97B0FCF6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6636052" y="4347691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F160E-615A-4004-A1C5-83D62501568E}" type="datetime'''''''''''''''''4''''6''''''''.''''2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.2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2BC2ECD8-DF58-46EF-99D2-056628A573FF}"/>
              </a:ext>
            </a:extLst>
          </p:cNvPr>
          <p:cNvSpPr>
            <a:spLocks noGrp="1"/>
          </p:cNvSpPr>
          <p:nvPr userDrawn="1">
            <p:custDataLst>
              <p:tags r:id="rId30"/>
            </p:custDataLst>
          </p:nvPr>
        </p:nvSpPr>
        <p:spPr bwMode="auto">
          <a:xfrm>
            <a:off x="4880276" y="5204941"/>
            <a:ext cx="438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4C6B19-577D-4D01-B6EE-C93B524EE520}" type="datetime'F''''''''''e''b''''''''''''-''''''''''1''9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Feb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B8EC1884-07DB-4483-8DE0-7E0A9B66F7D6}"/>
              </a:ext>
            </a:extLst>
          </p:cNvPr>
          <p:cNvSpPr txBox="1">
            <a:spLocks/>
          </p:cNvSpPr>
          <p:nvPr userDrawn="1">
            <p:custDataLst>
              <p:tags r:id="rId31"/>
            </p:custDataLst>
          </p:nvPr>
        </p:nvSpPr>
        <p:spPr bwMode="gray">
          <a:xfrm>
            <a:off x="6631288" y="327454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7CFCA7-08BC-4FCC-966A-4A9F982551C8}" type="datetime'''''1.''''''''''''''''''''''''''''''''''''8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BB9AE9EB-1229-452F-8D15-26FD365EF5E3}" type="datetime'''4''''''''''''''''''''''''''''''''''''''%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57F6D7B8-3734-40EB-9790-6208063D8B09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2629201" y="4896966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3F5F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A7F9B9-7473-411B-A6CD-D9AF26976425}" type="datetime'1''.5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106B6E2E-BD22-4C85-BF1E-5F75BDFED844}"/>
              </a:ext>
            </a:extLst>
          </p:cNvPr>
          <p:cNvSpPr txBox="1">
            <a:spLocks/>
          </p:cNvSpPr>
          <p:nvPr userDrawn="1">
            <p:custDataLst>
              <p:tags r:id="rId33"/>
            </p:custDataLst>
          </p:nvPr>
        </p:nvSpPr>
        <p:spPr bwMode="gray">
          <a:xfrm>
            <a:off x="7764764" y="41032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C0D88-DF5E-49CC-A299-3AA8C328C5D1}" type="datetime'''''''''''''''''''''''''6''''1''''''''''.''''''''8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.8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20A3E4CD-68FE-4A8D-81B2-AEEC935152AC}"/>
              </a:ext>
            </a:extLst>
          </p:cNvPr>
          <p:cNvSpPr txBox="1">
            <a:spLocks/>
          </p:cNvSpPr>
          <p:nvPr userDrawn="1">
            <p:custDataLst>
              <p:tags r:id="rId34"/>
            </p:custDataLst>
          </p:nvPr>
        </p:nvSpPr>
        <p:spPr bwMode="gray">
          <a:xfrm>
            <a:off x="4937426" y="432705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8EDB2F-DA26-4C91-9D27-C7EC35C9903D}" type="datetime'''''''''''''''''''''''''''''''''''''''0''.''''''5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77545610-D5B2-46F6-B0AA-0556864BF0EA}" type="datetime'''''''''''''''3''''''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sz="1200">
                <a:sym typeface="EF Circular Book" panose="020B0604020101020102" pitchFamily="34" charset="77"/>
              </a:rPr>
              <a:t>)</a:t>
            </a: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57E3CD71-3187-43DB-BF34-D1EE3F540AFC}"/>
              </a:ext>
            </a:extLst>
          </p:cNvPr>
          <p:cNvSpPr>
            <a:spLocks noGrp="1"/>
          </p:cNvSpPr>
          <p:nvPr userDrawn="1">
            <p:custDataLst>
              <p:tags r:id="rId35"/>
            </p:custDataLst>
          </p:nvPr>
        </p:nvSpPr>
        <p:spPr bwMode="auto">
          <a:xfrm>
            <a:off x="7145639" y="5204941"/>
            <a:ext cx="422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661757-EAA5-47EE-B605-7DCC75AB9A22}" type="datetime'''''J''''''''''u''''n-''''1''''''''9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n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A82DE83A-9DD9-473C-8663-E9E720ED0C71}"/>
              </a:ext>
            </a:extLst>
          </p:cNvPr>
          <p:cNvSpPr txBox="1">
            <a:spLocks/>
          </p:cNvSpPr>
          <p:nvPr userDrawn="1">
            <p:custDataLst>
              <p:tags r:id="rId36"/>
            </p:custDataLst>
          </p:nvPr>
        </p:nvSpPr>
        <p:spPr bwMode="gray">
          <a:xfrm>
            <a:off x="3107038" y="446675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3B4D32-067C-4C3D-99F4-27B9BBDA32D6}" type="datetime'''''0.''''1''''''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br>
              <a:rPr lang="en-US" altLang="en-US" sz="1200"/>
            </a:br>
            <a:r>
              <a:rPr lang="en-US" altLang="en-US" sz="1200"/>
              <a:t>(</a:t>
            </a:r>
            <a:fld id="{D07AC8D4-C620-4F18-A524-84DCF8683EBB}" type="datetime'''''''''3''''''''''''''%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AFF527BF-4191-4BF6-A974-80A4A0EFFCBB}"/>
              </a:ext>
            </a:extLst>
          </p:cNvPr>
          <p:cNvSpPr txBox="1">
            <a:spLocks/>
          </p:cNvSpPr>
          <p:nvPr userDrawn="1">
            <p:custDataLst>
              <p:tags r:id="rId37"/>
            </p:custDataLst>
          </p:nvPr>
        </p:nvSpPr>
        <p:spPr bwMode="gray">
          <a:xfrm>
            <a:off x="8893476" y="3852391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F2AA79-BA4E-4671-8E3E-1A63AE8A2A91}" type="datetime'''7''''''''''''''''''8''''.''''''''''''''''''''''''''0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.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B8FEE96F-C100-4F24-9F7A-1BAA6665E2F0}"/>
              </a:ext>
            </a:extLst>
          </p:cNvPr>
          <p:cNvSpPr>
            <a:spLocks noGrp="1"/>
          </p:cNvSpPr>
          <p:nvPr userDrawn="1">
            <p:custDataLst>
              <p:tags r:id="rId38"/>
            </p:custDataLst>
          </p:nvPr>
        </p:nvSpPr>
        <p:spPr bwMode="auto">
          <a:xfrm>
            <a:off x="2626026" y="5204941"/>
            <a:ext cx="4318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9DB19B-BEDA-4BB1-8BF9-F41DD9698AF9}" type="datetime'O''''''c''''t''''''-''1''''''''''''''''''8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Oct-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30C6EEC9-B5CD-4FA4-AC55-8D8B09AD867B}"/>
              </a:ext>
            </a:extLst>
          </p:cNvPr>
          <p:cNvSpPr txBox="1">
            <a:spLocks/>
          </p:cNvSpPr>
          <p:nvPr userDrawn="1">
            <p:custDataLst>
              <p:tags r:id="rId39"/>
            </p:custDataLst>
          </p:nvPr>
        </p:nvSpPr>
        <p:spPr bwMode="gray">
          <a:xfrm>
            <a:off x="3851576" y="4968404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996998-5E5E-41F4-A4C2-1B3714DF54AB}" type="datetime'''''''6''''''''''''''''''''''''''.''''''''''''''1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1</a:t>
            </a:fld>
            <a:endParaRPr lang="en-US" sz="1200">
              <a:solidFill>
                <a:schemeClr val="bg1"/>
              </a:solidFill>
              <a:sym typeface="EF Circular Book" panose="020B0604020101020102" pitchFamily="34" charset="77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D7F5C537-2879-4515-9BBC-286EAC622CFC}"/>
              </a:ext>
            </a:extLst>
          </p:cNvPr>
          <p:cNvSpPr>
            <a:spLocks noGrp="1"/>
          </p:cNvSpPr>
          <p:nvPr userDrawn="1">
            <p:custDataLst>
              <p:tags r:id="rId40"/>
            </p:custDataLst>
          </p:nvPr>
        </p:nvSpPr>
        <p:spPr bwMode="auto">
          <a:xfrm>
            <a:off x="7733013" y="5204941"/>
            <a:ext cx="3778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98C7AE-9E84-4B6C-9046-A48E4CCD447E}" type="datetime'''J''''''''''''''''''''''''''''''''''''''''ul-19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l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F1F92407-0DAC-43B9-A3D7-F4E8C82715B5}"/>
              </a:ext>
            </a:extLst>
          </p:cNvPr>
          <p:cNvSpPr>
            <a:spLocks noGrp="1"/>
          </p:cNvSpPr>
          <p:nvPr userDrawn="1">
            <p:custDataLst>
              <p:tags r:id="rId41"/>
            </p:custDataLst>
          </p:nvPr>
        </p:nvSpPr>
        <p:spPr bwMode="auto">
          <a:xfrm>
            <a:off x="8258476" y="5204941"/>
            <a:ext cx="454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34CF9EB-DC93-486E-8311-9366E8955533}" type="datetime'''A''''u''''''''g''''''''-''1''''''''9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ug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4C1223C5-27A5-46C4-98CE-605305EC2CCC}"/>
              </a:ext>
            </a:extLst>
          </p:cNvPr>
          <p:cNvSpPr txBox="1">
            <a:spLocks/>
          </p:cNvSpPr>
          <p:nvPr userDrawn="1">
            <p:custDataLst>
              <p:tags r:id="rId42"/>
            </p:custDataLst>
          </p:nvPr>
        </p:nvSpPr>
        <p:spPr bwMode="gray">
          <a:xfrm>
            <a:off x="3192763" y="4831879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43A4B-45B3-44CE-8816-9109EDB61802}" type="datetime'''''3''''''.6''''''''''''''''''''''''''''''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6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7CE12F98-6CFB-4090-B464-CCCFC0546373}"/>
              </a:ext>
            </a:extLst>
          </p:cNvPr>
          <p:cNvSpPr>
            <a:spLocks noGrp="1"/>
          </p:cNvSpPr>
          <p:nvPr userDrawn="1">
            <p:custDataLst>
              <p:tags r:id="rId43"/>
            </p:custDataLst>
          </p:nvPr>
        </p:nvSpPr>
        <p:spPr bwMode="auto">
          <a:xfrm>
            <a:off x="3175302" y="5204941"/>
            <a:ext cx="4619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DB09957-BE57-4291-8F44-7979081AFBDF}" type="datetime'''''N''''''''ov''''''''''''''-''1''''''''''''''''8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Nov-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1512102-C60F-4B56-97DE-A87476B59916}"/>
              </a:ext>
            </a:extLst>
          </p:cNvPr>
          <p:cNvSpPr>
            <a:spLocks noGrp="1"/>
          </p:cNvSpPr>
          <p:nvPr userDrawn="1">
            <p:custDataLst>
              <p:tags r:id="rId44"/>
            </p:custDataLst>
          </p:nvPr>
        </p:nvSpPr>
        <p:spPr bwMode="auto">
          <a:xfrm>
            <a:off x="3746801" y="5204941"/>
            <a:ext cx="4492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416DA05-FA05-458D-A1C4-8610D29F7D72}" type="datetime'''''D''''''''''''''''''''''''''''''''e''c''-1''''''8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Dec-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F578A940-AEDF-4CC7-AC94-7C5A9E26038F}"/>
              </a:ext>
            </a:extLst>
          </p:cNvPr>
          <p:cNvSpPr txBox="1">
            <a:spLocks/>
          </p:cNvSpPr>
          <p:nvPr userDrawn="1">
            <p:custDataLst>
              <p:tags r:id="rId45"/>
            </p:custDataLst>
          </p:nvPr>
        </p:nvSpPr>
        <p:spPr bwMode="gray">
          <a:xfrm>
            <a:off x="3808713" y="456835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854F3-7995-4575-B04D-2761F6487B47}" type="datetime'''''''''''''0''''.''''''''''2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br>
              <a:rPr lang="en-US" altLang="en-US" sz="1200"/>
            </a:br>
            <a:r>
              <a:rPr lang="en-US" altLang="en-US" sz="1200"/>
              <a:t>(</a:t>
            </a:r>
            <a:fld id="{91014457-0525-46DA-8EA2-8B13A2976189}" type="datetime'''''''''''''''''''''''''''''3''%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424BD410-A575-4C54-8257-626D7C63CB07}"/>
              </a:ext>
            </a:extLst>
          </p:cNvPr>
          <p:cNvSpPr>
            <a:spLocks noGrp="1"/>
          </p:cNvSpPr>
          <p:nvPr userDrawn="1">
            <p:custDataLst>
              <p:tags r:id="rId46"/>
            </p:custDataLst>
          </p:nvPr>
        </p:nvSpPr>
        <p:spPr bwMode="auto">
          <a:xfrm>
            <a:off x="5429551" y="5204941"/>
            <a:ext cx="469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967FB2-2BA7-4EFD-8902-AA56C7CF524E}" type="datetime'M''''''a''''''''''r-''''''''''''''''''''''''1''''''''''9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r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B2486EDD-F904-4F69-BDAF-504BFE88190A}"/>
              </a:ext>
            </a:extLst>
          </p:cNvPr>
          <p:cNvSpPr txBox="1">
            <a:spLocks/>
          </p:cNvSpPr>
          <p:nvPr userDrawn="1">
            <p:custDataLst>
              <p:tags r:id="rId47"/>
            </p:custDataLst>
          </p:nvPr>
        </p:nvSpPr>
        <p:spPr bwMode="gray">
          <a:xfrm>
            <a:off x="4415138" y="4922366"/>
            <a:ext cx="238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BA7182-2277-4B16-BE2A-D5DEF15E08EB}" type="datetime'''9''.''''''''''''''''''''''''0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0</a:t>
            </a:fld>
            <a:endParaRPr lang="en-US" sz="1200" dirty="0">
              <a:solidFill>
                <a:schemeClr val="bg1"/>
              </a:solidFill>
              <a:sym typeface="EF Circular Book" panose="020B0604020101020102" pitchFamily="34" charset="77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808BF81C-42AB-4F79-A63E-415B57158779}"/>
              </a:ext>
            </a:extLst>
          </p:cNvPr>
          <p:cNvSpPr txBox="1">
            <a:spLocks/>
          </p:cNvSpPr>
          <p:nvPr userDrawn="1">
            <p:custDataLst>
              <p:tags r:id="rId48"/>
            </p:custDataLst>
          </p:nvPr>
        </p:nvSpPr>
        <p:spPr bwMode="gray">
          <a:xfrm>
            <a:off x="4372276" y="4473104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2D7E2A-52D3-42A8-AF99-D76A86FE722E}" type="datetime'''''''0''''''.''''''''''''''''''''''''3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br>
              <a:rPr lang="en-US" altLang="en-US" sz="1200"/>
            </a:br>
            <a:r>
              <a:rPr lang="en-US" altLang="en-US" sz="1200"/>
              <a:t>(</a:t>
            </a:r>
            <a:fld id="{B07DBBBA-C2D8-4A0A-9118-BFA1C02ACA4A}" type="datetime'''''''''''''''''''''''''''''''''3''''%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E7F1AB18-7F1F-4842-A40E-8A00C4BFFF1B}"/>
              </a:ext>
            </a:extLst>
          </p:cNvPr>
          <p:cNvSpPr>
            <a:spLocks noGrp="1"/>
          </p:cNvSpPr>
          <p:nvPr userDrawn="1">
            <p:custDataLst>
              <p:tags r:id="rId49"/>
            </p:custDataLst>
          </p:nvPr>
        </p:nvSpPr>
        <p:spPr bwMode="auto">
          <a:xfrm>
            <a:off x="6010577" y="5204941"/>
            <a:ext cx="4349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EEBC2FB-D989-40F3-AF68-297D1AAD6B77}" type="datetime'''''''''''''''A''''''''pr''''''''''-''''1''''''9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pr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302867F8-0505-4C0B-B8DE-22469C5CDD26}"/>
              </a:ext>
            </a:extLst>
          </p:cNvPr>
          <p:cNvSpPr txBox="1">
            <a:spLocks/>
          </p:cNvSpPr>
          <p:nvPr userDrawn="1">
            <p:custDataLst>
              <p:tags r:id="rId50"/>
            </p:custDataLst>
          </p:nvPr>
        </p:nvSpPr>
        <p:spPr bwMode="gray">
          <a:xfrm>
            <a:off x="4942189" y="48525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3F5F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FC003-1458-4CC0-B904-6B01DE7CA883}" type="datetime'''''''1''''''''''''''3''''''''''''''''.''''6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6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6A9F0F35-B5DC-4F6E-B476-D8459D02396D}"/>
              </a:ext>
            </a:extLst>
          </p:cNvPr>
          <p:cNvSpPr txBox="1">
            <a:spLocks/>
          </p:cNvSpPr>
          <p:nvPr userDrawn="1">
            <p:custDataLst>
              <p:tags r:id="rId51"/>
            </p:custDataLst>
          </p:nvPr>
        </p:nvSpPr>
        <p:spPr bwMode="gray">
          <a:xfrm>
            <a:off x="8328326" y="39508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45838-638B-4230-AEF7-18B14471DEC2}" type="datetime'''''''71''''''''''''''''.7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.7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5008B20C-F222-448D-BF17-58CB954167F9}"/>
              </a:ext>
            </a:extLst>
          </p:cNvPr>
          <p:cNvSpPr txBox="1">
            <a:spLocks/>
          </p:cNvSpPr>
          <p:nvPr userDrawn="1">
            <p:custDataLst>
              <p:tags r:id="rId52"/>
            </p:custDataLst>
          </p:nvPr>
        </p:nvSpPr>
        <p:spPr bwMode="gray">
          <a:xfrm>
            <a:off x="5502576" y="4147666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82F79E-D049-4B78-B790-BEB6CC03D6B5}" type="datetime'0''''''''''''''''''''''''.''''7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DE9D0A1C-61F9-4B61-8CCB-316899510202}" type="datetime'''''''''''''''3%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6B03876C-87FF-482A-9455-F63720E49F6A}"/>
              </a:ext>
            </a:extLst>
          </p:cNvPr>
          <p:cNvSpPr txBox="1">
            <a:spLocks/>
          </p:cNvSpPr>
          <p:nvPr userDrawn="1">
            <p:custDataLst>
              <p:tags r:id="rId53"/>
            </p:custDataLst>
          </p:nvPr>
        </p:nvSpPr>
        <p:spPr bwMode="gray">
          <a:xfrm>
            <a:off x="5507338" y="4765204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3F5F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2A71E-9C5E-40D4-9A3A-B566E5F3C014}" type="datetime'''''''''''1''''''''''9''''''.2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2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359A5EA2-4664-47BB-9E56-43E0668F2F07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 bwMode="gray">
          <a:xfrm>
            <a:off x="6070901" y="4611216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9F4C9-3855-4CC3-9F27-79F80ECFEF94}" type="datetime'''''''''''''''''''2''''''''''''''''''''9''''''.''''''1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1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E28C77A-3219-4E05-AA21-5F44EF0A75C4}"/>
              </a:ext>
            </a:extLst>
          </p:cNvPr>
          <p:cNvSpPr>
            <a:spLocks noGrp="1"/>
          </p:cNvSpPr>
          <p:nvPr userDrawn="1">
            <p:custDataLst>
              <p:tags r:id="rId55"/>
            </p:custDataLst>
          </p:nvPr>
        </p:nvSpPr>
        <p:spPr bwMode="auto">
          <a:xfrm>
            <a:off x="4326239" y="5204941"/>
            <a:ext cx="4159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19D55B2-72D6-4F56-BA1F-5F40D73E7EB1}" type="datetime'''''''''''''Ja''''''''''''''''''''''n''''''-''''''19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an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A38A8A07-1E87-4E27-9724-254EC7E25C93}"/>
              </a:ext>
            </a:extLst>
          </p:cNvPr>
          <p:cNvSpPr>
            <a:spLocks noGrp="1"/>
          </p:cNvSpPr>
          <p:nvPr userDrawn="1">
            <p:custDataLst>
              <p:tags r:id="rId56"/>
            </p:custDataLst>
          </p:nvPr>
        </p:nvSpPr>
        <p:spPr bwMode="auto">
          <a:xfrm>
            <a:off x="6551913" y="5204941"/>
            <a:ext cx="4826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571E6AB-F7FD-4A56-8FAD-B276FF1F06AD}" type="datetime'M''''''a''''''''''''''''''y''''''''-''''1''''''''''9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y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586F74B5-909F-4A1A-AF9B-954A80D4EAA2}"/>
              </a:ext>
            </a:extLst>
          </p:cNvPr>
          <p:cNvSpPr txBox="1">
            <a:spLocks/>
          </p:cNvSpPr>
          <p:nvPr userDrawn="1">
            <p:custDataLst>
              <p:tags r:id="rId57"/>
            </p:custDataLst>
          </p:nvPr>
        </p:nvSpPr>
        <p:spPr bwMode="gray">
          <a:xfrm>
            <a:off x="6066138" y="382699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9BFE16-9B27-4C60-BA04-5A7A90560AFB}" type="datetime'''''''''''''''''1''''''''''''''''''''''''''''''''''.1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54D687E7-F4E1-4767-8649-877012500A39}" type="datetime'''''''''''''''''''''''''4''''''''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07AC383-AD61-49E2-AE35-6E42175E0C55}"/>
              </a:ext>
            </a:extLst>
          </p:cNvPr>
          <p:cNvSpPr txBox="1">
            <a:spLocks/>
          </p:cNvSpPr>
          <p:nvPr userDrawn="1">
            <p:custDataLst>
              <p:tags r:id="rId58"/>
            </p:custDataLst>
          </p:nvPr>
        </p:nvSpPr>
        <p:spPr bwMode="gray">
          <a:xfrm>
            <a:off x="7194851" y="3041179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3DB884-DDC8-4F31-BF6D-E04FA212076B}" type="datetime'''''''''''''''''''''2''''''''.1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1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5AC74F2F-EF05-4717-B9CF-425CDB8A829D}" type="datetime'''''''''''''''''4%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8650676E-70AC-4010-AC9D-FE912568FC54}"/>
              </a:ext>
            </a:extLst>
          </p:cNvPr>
          <p:cNvSpPr txBox="1">
            <a:spLocks/>
          </p:cNvSpPr>
          <p:nvPr userDrawn="1">
            <p:custDataLst>
              <p:tags r:id="rId59"/>
            </p:custDataLst>
          </p:nvPr>
        </p:nvSpPr>
        <p:spPr bwMode="gray">
          <a:xfrm>
            <a:off x="7199613" y="4234979"/>
            <a:ext cx="3159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F025E-0E19-4E1D-8A94-2CE09C0B54A4}" type="datetime'''''''''''''''''''5''''3''''''.''''''''''''''4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.4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CAD0FE1E-96AB-4FBF-B685-3BE8A46E1FC9}"/>
              </a:ext>
            </a:extLst>
          </p:cNvPr>
          <p:cNvSpPr txBox="1">
            <a:spLocks/>
          </p:cNvSpPr>
          <p:nvPr userDrawn="1">
            <p:custDataLst>
              <p:tags r:id="rId60"/>
            </p:custDataLst>
          </p:nvPr>
        </p:nvSpPr>
        <p:spPr bwMode="gray">
          <a:xfrm>
            <a:off x="2543476" y="453184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C008C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F2F46-A032-45C1-BA37-27BF807CC66B}" type="datetime'''''''''''''''''''0''''''.1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1</a:t>
            </a:fld>
            <a:br>
              <a:rPr lang="en-US" altLang="en-US" sz="1200"/>
            </a:br>
            <a:r>
              <a:rPr lang="en-US" altLang="en-US" sz="1200"/>
              <a:t>(</a:t>
            </a:r>
            <a:fld id="{D9A73070-9372-432B-BAC0-A0FD616903BE}" type="datetime'''''''''''''''''''''''''''4''''''''''''''%'''''''''''''''''">
              <a:rPr lang="en-US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/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0FA36148-1E1E-485B-8B1A-AA6E326270E1}"/>
              </a:ext>
            </a:extLst>
          </p:cNvPr>
          <p:cNvSpPr txBox="1">
            <a:spLocks/>
          </p:cNvSpPr>
          <p:nvPr userDrawn="1">
            <p:custDataLst>
              <p:tags r:id="rId61"/>
            </p:custDataLst>
          </p:nvPr>
        </p:nvSpPr>
        <p:spPr bwMode="gray">
          <a:xfrm>
            <a:off x="7760001" y="2766541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EF4C52-E34C-4E6F-8023-79ABD5FD5088}" type="datetime'''''''''''''''''2''.5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E9E51386-4233-4945-8880-406EE4CCD8C5}" type="datetime'''''''''''''''''''''4''%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362FA4F1-2BBF-46DB-9ADB-C0227CA25153}"/>
              </a:ext>
            </a:extLst>
          </p:cNvPr>
          <p:cNvSpPr txBox="1">
            <a:spLocks/>
          </p:cNvSpPr>
          <p:nvPr userDrawn="1">
            <p:custDataLst>
              <p:tags r:id="rId62"/>
            </p:custDataLst>
          </p:nvPr>
        </p:nvSpPr>
        <p:spPr bwMode="gray">
          <a:xfrm>
            <a:off x="8888713" y="2236316"/>
            <a:ext cx="3238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01C8DE-F610-4A42-9D77-674907E06124}" type="datetime'''''''''''''''''''''''''''''''''''''''''''''3''.''''4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4</a:t>
            </a:fld>
            <a:br>
              <a:rPr lang="en-US" altLang="en-US" sz="1200">
                <a:sym typeface="EF Circular Book" panose="020B0604020101020102" pitchFamily="34" charset="77"/>
              </a:rPr>
            </a:br>
            <a:r>
              <a:rPr lang="en-US" altLang="en-US" sz="1200">
                <a:sym typeface="EF Circular Book" panose="020B0604020101020102" pitchFamily="34" charset="77"/>
              </a:rPr>
              <a:t>(</a:t>
            </a:r>
            <a:fld id="{60F87E58-CDF6-40C0-A1F2-1AE5A3E3497D}" type="datetime'''''''''4''''''%''''''''''''''''''''''''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en-US" altLang="en-US" sz="1200">
                <a:sym typeface="EF Circular Book" panose="020B0604020101020102" pitchFamily="34" charset="77"/>
              </a:rPr>
              <a:t>)</a:t>
            </a:r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6613AA48-01D0-4741-8B0D-E09A289D77A9}"/>
              </a:ext>
            </a:extLst>
          </p:cNvPr>
          <p:cNvSpPr>
            <a:spLocks noGrp="1"/>
          </p:cNvSpPr>
          <p:nvPr userDrawn="1">
            <p:custDataLst>
              <p:tags r:id="rId63"/>
            </p:custDataLst>
          </p:nvPr>
        </p:nvSpPr>
        <p:spPr bwMode="auto">
          <a:xfrm>
            <a:off x="8831563" y="5204941"/>
            <a:ext cx="4397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7D989F-8AF7-4158-97D4-92E9A65C90B4}" type="datetime'''S''''''ep''''''-''''''19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Sep-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DD8E1F4-6A9F-432C-9AFE-FAAD13C8D4E2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2619676" y="2426816"/>
            <a:ext cx="214313" cy="160338"/>
          </a:xfrm>
          <a:prstGeom prst="rect">
            <a:avLst/>
          </a:prstGeom>
          <a:solidFill>
            <a:srgbClr val="009EEB"/>
          </a:solidFill>
          <a:ln w="63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8E6F764D-3863-42B3-93B0-BF1379B31378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3186413" y="2426816"/>
            <a:ext cx="214313" cy="160338"/>
          </a:xfrm>
          <a:prstGeom prst="rect">
            <a:avLst/>
          </a:prstGeom>
          <a:solidFill>
            <a:srgbClr val="003F5F"/>
          </a:solidFill>
          <a:ln w="63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FF70C9AD-C4D2-46C5-A896-EE9D9FD854E5}"/>
              </a:ext>
            </a:extLst>
          </p:cNvPr>
          <p:cNvSpPr txBox="1">
            <a:spLocks/>
          </p:cNvSpPr>
          <p:nvPr userDrawn="1">
            <p:custDataLst>
              <p:tags r:id="rId66"/>
            </p:custDataLst>
          </p:nvPr>
        </p:nvSpPr>
        <p:spPr bwMode="auto">
          <a:xfrm>
            <a:off x="2884788" y="2422054"/>
            <a:ext cx="200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xxx</a:t>
            </a:r>
            <a:endParaRPr lang="en-US" sz="1200" dirty="0">
              <a:sym typeface="EF Circular Book" panose="020B0604020101020102" pitchFamily="34" charset="77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5C3FB284-29EE-4A24-9F36-3849BE6D5685}"/>
              </a:ext>
            </a:extLst>
          </p:cNvPr>
          <p:cNvSpPr txBox="1">
            <a:spLocks/>
          </p:cNvSpPr>
          <p:nvPr userDrawn="1">
            <p:custDataLst>
              <p:tags r:id="rId67"/>
            </p:custDataLst>
          </p:nvPr>
        </p:nvSpPr>
        <p:spPr bwMode="auto">
          <a:xfrm>
            <a:off x="3451526" y="2422054"/>
            <a:ext cx="200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xxx</a:t>
            </a:r>
            <a:endParaRPr lang="en-US" sz="1200" dirty="0">
              <a:sym typeface="EF Circular Book" panose="020B0604020101020102" pitchFamily="34" charset="77"/>
            </a:endParaRP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50D34A83-CD4F-F142-9C0C-3029857405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47595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e Graph">
    <p:bg>
      <p:bgPr>
        <a:blipFill dpi="0" rotWithShape="1">
          <a:blip r:embed="rId3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BFC1DC8C-CE12-48B4-8A41-BD61193A4584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12956"/>
              </p:ext>
            </p:extLst>
          </p:nvPr>
        </p:nvGraphicFramePr>
        <p:xfrm>
          <a:off x="2526056" y="2754956"/>
          <a:ext cx="7000875" cy="1825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FA8092E7-A2AF-4A7E-AE87-FCB1925342CA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2356193" y="4407544"/>
            <a:ext cx="1000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E744A90-10F5-409C-8C0D-C64C28E7C8E6}" type="datetime'''''''''''''''''''''''''''''''''''''''''''0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7AE4550-B3B0-4A21-8A5D-F070BE9AEF48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2265706" y="3993206"/>
            <a:ext cx="190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4B3971F-511A-4D50-BE97-FCB214B7ABD8}" type="datetime'''''''''2''''''''''''''''0''''''''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2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D01BBB10-0654-400C-A530-8A22707FE222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2264118" y="3785244"/>
            <a:ext cx="192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A477117-2827-49F4-B66D-6E7E3A35B15B}" type="datetime'''3''''''''0''''''''''''''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3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CB530D2-F495-40AE-BB47-433B378C004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2302218" y="4199581"/>
            <a:ext cx="1539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D3ECB14-53EB-4F30-AEA6-C56F225C041C}" type="datetime'''''''''''''''''''''''''''''''1''''0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1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AA7133B-7C4F-47F7-A5DF-7001023D035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2265706" y="3369319"/>
            <a:ext cx="190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6E16283-477D-4E85-AAB0-10108DE6962F}" type="datetime'''''''''''''''''''5''0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5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2694E6E9-C4D9-4337-AE22-B006DE70CFA1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 bwMode="gray">
          <a:xfrm>
            <a:off x="2264118" y="2747019"/>
            <a:ext cx="192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B0D261F-455D-4653-809C-7695936AE538}" type="datetime'''8''0''''''''''''''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8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E00F9B44-39E9-492C-8722-4A415BF9860F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2272056" y="2954981"/>
            <a:ext cx="184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FBC3F6D-37F0-4F76-B395-D2A99C0CBE9D}" type="datetime'''''''7''''0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70</a:t>
            </a:fld>
            <a:endParaRPr lang="en-US" alt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15C3F5F2-2A55-42A6-AACC-C1A1F6B58EB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2260943" y="3577281"/>
            <a:ext cx="1952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6FAC0E8-F2EB-42A2-8A49-559CAF5994D1}" type="datetime'''''''4''''''''0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4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D9676E74-0855-460B-A12E-6E608F775216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 bwMode="gray">
          <a:xfrm>
            <a:off x="2260943" y="3162944"/>
            <a:ext cx="1952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B9BDE25-B694-429E-9D28-2E20C0D7DF45}" type="datetime'''''''''''''60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6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DCDA7A8A-8BD7-4A87-8B00-57DFE84C5626}"/>
              </a:ext>
            </a:extLst>
          </p:cNvPr>
          <p:cNvSpPr txBox="1">
            <a:spLocks/>
          </p:cNvSpPr>
          <p:nvPr userDrawn="1">
            <p:custDataLst>
              <p:tags r:id="rId11"/>
            </p:custDataLst>
          </p:nvPr>
        </p:nvSpPr>
        <p:spPr bwMode="gray">
          <a:xfrm>
            <a:off x="3780182" y="4250381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35DF04-17AF-4CB8-9761-08CE751D1380}" type="datetime'0''''''''''''''''''''''''''''''''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AF9328C0-1149-42B0-8F82-AB2F1713BB50}"/>
              </a:ext>
            </a:extLst>
          </p:cNvPr>
          <p:cNvSpPr>
            <a:spLocks noGrp="1"/>
          </p:cNvSpPr>
          <p:nvPr userDrawn="1">
            <p:custDataLst>
              <p:tags r:id="rId12"/>
            </p:custDataLst>
          </p:nvPr>
        </p:nvSpPr>
        <p:spPr bwMode="auto">
          <a:xfrm>
            <a:off x="3080093" y="4548831"/>
            <a:ext cx="300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DB96932-675B-45F7-9830-EC38965173C6}" type="datetime'''''''''''N''o''''v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Nov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7BBC3423-44B9-4972-883A-8451B2943619}"/>
              </a:ext>
            </a:extLst>
          </p:cNvPr>
          <p:cNvSpPr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3707156" y="4548831"/>
            <a:ext cx="290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39D28A-5618-42CD-8F8D-5F1B6E515B0F}" type="datetime'''''''''D''''''''''''''''e''c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Dec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90" name="Text Placeholder 2">
            <a:extLst>
              <a:ext uri="{FF2B5EF4-FFF2-40B4-BE49-F238E27FC236}">
                <a16:creationId xmlns:a16="http://schemas.microsoft.com/office/drawing/2014/main" id="{0CB9B06A-6F0F-4C8B-8589-5AED090FCC32}"/>
              </a:ext>
            </a:extLst>
          </p:cNvPr>
          <p:cNvSpPr txBox="1">
            <a:spLocks/>
          </p:cNvSpPr>
          <p:nvPr userDrawn="1">
            <p:custDataLst>
              <p:tags r:id="rId14"/>
            </p:custDataLst>
          </p:nvPr>
        </p:nvSpPr>
        <p:spPr bwMode="gray">
          <a:xfrm>
            <a:off x="6864694" y="3829694"/>
            <a:ext cx="188913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F2101-F3D4-41A7-B402-3FE42B87B85A}" type="datetime'''''''''2''''''''''''''''''''''''''1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9E9B559F-5CF9-427F-BA93-532CE5AD577F}"/>
              </a:ext>
            </a:extLst>
          </p:cNvPr>
          <p:cNvSpPr txBox="1"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4405656" y="4221806"/>
            <a:ext cx="134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5645AB-109D-4345-A5D3-354D6F58827D}" type="datetime'''''''''''''''''''''''2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32CCB731-F415-44F2-BE21-3707AA8F57EE}"/>
              </a:ext>
            </a:extLst>
          </p:cNvPr>
          <p:cNvSpPr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2433981" y="4548831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BDB4B7-DC07-44F4-A7A0-2B21105C7F02}" type="datetime'''''''''''Oc''''''''t''''''''''&#10;''2''''0''1''''''8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Oct
20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E8D392B2-3A36-4639-9E91-33D4C196232A}"/>
              </a:ext>
            </a:extLst>
          </p:cNvPr>
          <p:cNvSpPr>
            <a:spLocks noGrp="1"/>
          </p:cNvSpPr>
          <p:nvPr userDrawn="1">
            <p:custDataLst>
              <p:tags r:id="rId17"/>
            </p:custDataLst>
          </p:nvPr>
        </p:nvSpPr>
        <p:spPr bwMode="auto">
          <a:xfrm>
            <a:off x="4297706" y="4548831"/>
            <a:ext cx="350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A15E2AE-4894-4E14-BE48-7EDE7DF93329}" type="datetime'''Ja''''n&#10;''''''''''''20''''1''''9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an
20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4DF55CD6-6D35-41CF-A923-E3FA9A683213}"/>
              </a:ext>
            </a:extLst>
          </p:cNvPr>
          <p:cNvSpPr>
            <a:spLocks noGrp="1"/>
          </p:cNvSpPr>
          <p:nvPr userDrawn="1">
            <p:custDataLst>
              <p:tags r:id="rId18"/>
            </p:custDataLst>
          </p:nvPr>
        </p:nvSpPr>
        <p:spPr bwMode="auto">
          <a:xfrm>
            <a:off x="4958106" y="4548831"/>
            <a:ext cx="2746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EFED952-8728-4B6C-BDFB-E3AB8083A1FC}" type="datetime'''''''''''''''F''''''''''''''''''e''''''''''''''''b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Feb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97F8BD97-A937-46DC-97A6-EF1D56F2DDDF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 bwMode="gray">
          <a:xfrm>
            <a:off x="2646707" y="4255144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4EDC6A-14F5-4015-842E-F9FA39B0C4D0}" type="datetime'''''''''''''''''''''''''''''''''''''''0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 useBgFill="1">
        <p:nvSpPr>
          <p:cNvPr id="96" name="Text Placeholder 2">
            <a:extLst>
              <a:ext uri="{FF2B5EF4-FFF2-40B4-BE49-F238E27FC236}">
                <a16:creationId xmlns:a16="http://schemas.microsoft.com/office/drawing/2014/main" id="{EDD6B960-DEAD-4721-8210-D7F21A5FF8AE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 bwMode="gray">
          <a:xfrm>
            <a:off x="5651843" y="4107506"/>
            <a:ext cx="128588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71726A-579C-45F3-BDCE-962E49038AEC}" type="datetime'''''''''''''7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A6FF8EA3-FF70-4973-8DB4-7257F12F0CF3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 bwMode="gray">
          <a:xfrm>
            <a:off x="3157882" y="4250381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D31093-26E9-4884-8F73-6EB10406495A}" type="datetime'''''''''''''''''''''''''''''''''''0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 useBgFill="1">
        <p:nvSpPr>
          <p:cNvPr id="98" name="Text Placeholder 2">
            <a:extLst>
              <a:ext uri="{FF2B5EF4-FFF2-40B4-BE49-F238E27FC236}">
                <a16:creationId xmlns:a16="http://schemas.microsoft.com/office/drawing/2014/main" id="{2499F133-7DF5-4B58-847F-3EBC4A84B720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 bwMode="gray">
          <a:xfrm>
            <a:off x="6240807" y="3977331"/>
            <a:ext cx="193675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CB23C-1DA8-4E7E-A638-55E6B17E371D}" type="datetime'''''''''''''''''''''''''''''''''''''''''''1''''4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8D4BBE75-9220-4DED-B805-66EB742FB97B}"/>
              </a:ext>
            </a:extLst>
          </p:cNvPr>
          <p:cNvSpPr>
            <a:spLocks noGrp="1"/>
          </p:cNvSpPr>
          <p:nvPr userDrawn="1">
            <p:custDataLst>
              <p:tags r:id="rId23"/>
            </p:custDataLst>
          </p:nvPr>
        </p:nvSpPr>
        <p:spPr bwMode="auto">
          <a:xfrm>
            <a:off x="8072781" y="4548831"/>
            <a:ext cx="2587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8351FF-B8BB-4CA2-8754-25A0B7F7DBF0}" type="datetime'''''''J''''''u''''''''''''''''''''''''l'''' 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l 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A2B9464C-A2DB-43C8-BDE6-B38074F40DC6}"/>
              </a:ext>
            </a:extLst>
          </p:cNvPr>
          <p:cNvSpPr>
            <a:spLocks noGrp="1"/>
          </p:cNvSpPr>
          <p:nvPr userDrawn="1">
            <p:custDataLst>
              <p:tags r:id="rId24"/>
            </p:custDataLst>
          </p:nvPr>
        </p:nvSpPr>
        <p:spPr bwMode="auto">
          <a:xfrm>
            <a:off x="6798018" y="4548831"/>
            <a:ext cx="320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1EEACD-B2E5-494C-9029-8CC87201A57F}" type="datetime'''''''''''''''''''''''''''Ma''''''y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y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101" name="Text Placeholder 2">
            <a:extLst>
              <a:ext uri="{FF2B5EF4-FFF2-40B4-BE49-F238E27FC236}">
                <a16:creationId xmlns:a16="http://schemas.microsoft.com/office/drawing/2014/main" id="{F6DCA425-1958-4396-B669-A29EB7975F59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 bwMode="gray">
          <a:xfrm>
            <a:off x="7466356" y="3663006"/>
            <a:ext cx="228600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B30EBD-7E46-4567-8BE7-BEE5176A9BB5}" type="datetime'''''''''''''''''''2''''''''''''''''''''''''''9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5D897A4C-A273-4197-A155-BCA1886CB9AC}"/>
              </a:ext>
            </a:extLst>
          </p:cNvPr>
          <p:cNvSpPr>
            <a:spLocks noGrp="1"/>
          </p:cNvSpPr>
          <p:nvPr userDrawn="1">
            <p:custDataLst>
              <p:tags r:id="rId26"/>
            </p:custDataLst>
          </p:nvPr>
        </p:nvSpPr>
        <p:spPr bwMode="auto">
          <a:xfrm>
            <a:off x="7447306" y="4548831"/>
            <a:ext cx="268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7C48E2C-B63F-4CFB-9600-0C89D04898B7}" type="datetime'''''''''''''''''''''J''''''''''''u''n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n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103" name="Text Placeholder 2">
            <a:extLst>
              <a:ext uri="{FF2B5EF4-FFF2-40B4-BE49-F238E27FC236}">
                <a16:creationId xmlns:a16="http://schemas.microsoft.com/office/drawing/2014/main" id="{C9F6CF2E-CF66-4BB1-8034-70CAB3A171C0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 bwMode="gray">
          <a:xfrm>
            <a:off x="8091832" y="3496319"/>
            <a:ext cx="220663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352CA0-F1DF-4941-8526-2228C225DC38}" type="datetime'''''''''''''3''''''7''''''''''''''''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21D29F-DA3F-447D-9F6D-248988D552AA}"/>
              </a:ext>
            </a:extLst>
          </p:cNvPr>
          <p:cNvSpPr>
            <a:spLocks noGrp="1"/>
          </p:cNvSpPr>
          <p:nvPr userDrawn="1">
            <p:custDataLst>
              <p:tags r:id="rId28"/>
            </p:custDataLst>
          </p:nvPr>
        </p:nvSpPr>
        <p:spPr bwMode="auto">
          <a:xfrm>
            <a:off x="5569293" y="4548831"/>
            <a:ext cx="293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D5B0C68-0573-43F0-AF90-925CC8903C87}" type="datetime'''''''''''''''Ma''''''''''''''r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r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105" name="Text Placeholder 2">
            <a:extLst>
              <a:ext uri="{FF2B5EF4-FFF2-40B4-BE49-F238E27FC236}">
                <a16:creationId xmlns:a16="http://schemas.microsoft.com/office/drawing/2014/main" id="{06200416-72A7-4938-8638-E83E2A42585A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8709368" y="3331219"/>
            <a:ext cx="230188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5A4CB-760D-4C4C-814F-EDC1477F8637}" type="datetime'4''''''''''''''''5''''''''''''''''''''''''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1200">
              <a:sym typeface="EF Circular Book" panose="020B0604020101020102" pitchFamily="34" charset="77"/>
            </a:endParaRPr>
          </a:p>
        </p:txBody>
      </p:sp>
      <p:sp useBgFill="1">
        <p:nvSpPr>
          <p:cNvPr id="106" name="Text Placeholder 2">
            <a:extLst>
              <a:ext uri="{FF2B5EF4-FFF2-40B4-BE49-F238E27FC236}">
                <a16:creationId xmlns:a16="http://schemas.microsoft.com/office/drawing/2014/main" id="{F5EB927E-A904-4A75-AF89-9F418B74D242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gray">
          <a:xfrm>
            <a:off x="9331669" y="3159769"/>
            <a:ext cx="227013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F6D45-8010-4D1D-BB1A-CD7F470EDFEF}" type="datetime'5''''''''''''''''3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E948D361-E4B9-4104-A5A0-3158FC75FE80}"/>
              </a:ext>
            </a:extLst>
          </p:cNvPr>
          <p:cNvSpPr>
            <a:spLocks noGrp="1"/>
          </p:cNvSpPr>
          <p:nvPr userDrawn="1">
            <p:custDataLst>
              <p:tags r:id="rId31"/>
            </p:custDataLst>
          </p:nvPr>
        </p:nvSpPr>
        <p:spPr bwMode="auto">
          <a:xfrm>
            <a:off x="6204293" y="4548831"/>
            <a:ext cx="266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5A9653-D5E3-48C7-A197-20750F1AD37E}" type="datetime'''''''''''''''''''''''A''''''''''''p''''''''''''''r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pr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310FD12-2108-4DE6-88EF-23F1A7828038}"/>
              </a:ext>
            </a:extLst>
          </p:cNvPr>
          <p:cNvSpPr>
            <a:spLocks noGrp="1"/>
          </p:cNvSpPr>
          <p:nvPr userDrawn="1">
            <p:custDataLst>
              <p:tags r:id="rId32"/>
            </p:custDataLst>
          </p:nvPr>
        </p:nvSpPr>
        <p:spPr bwMode="auto">
          <a:xfrm>
            <a:off x="9269756" y="4548831"/>
            <a:ext cx="350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F45872-2982-4057-8970-F802FE2D8C6B}" type="datetime'''''S''ep''''''&#10;''''''''''''2''0''''1''''''''''''''''''''''9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Sep
20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326EB117-3B08-4237-9A67-0E2378FE1E08}"/>
              </a:ext>
            </a:extLst>
          </p:cNvPr>
          <p:cNvSpPr>
            <a:spLocks noGrp="1"/>
          </p:cNvSpPr>
          <p:nvPr userDrawn="1">
            <p:custDataLst>
              <p:tags r:id="rId33"/>
            </p:custDataLst>
          </p:nvPr>
        </p:nvSpPr>
        <p:spPr bwMode="auto">
          <a:xfrm>
            <a:off x="8676031" y="4548831"/>
            <a:ext cx="295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4F1A4B-3C84-4B5E-A4CC-94FE9DE2B4D5}" type="datetime'''''''''''''''''''''A''''''u''''''''''''''''''''''g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ug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64AD1883-4275-4AEA-B3C9-319DDB848627}"/>
              </a:ext>
            </a:extLst>
          </p:cNvPr>
          <p:cNvSpPr txBox="1">
            <a:spLocks/>
          </p:cNvSpPr>
          <p:nvPr userDrawn="1">
            <p:custDataLst>
              <p:tags r:id="rId34"/>
            </p:custDataLst>
          </p:nvPr>
        </p:nvSpPr>
        <p:spPr bwMode="gray">
          <a:xfrm>
            <a:off x="5024781" y="4185294"/>
            <a:ext cx="139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ADE88-B18A-47E5-80EA-F45471DFC572}" type="datetime'''''''''''''''''''''''''''''''''''4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EC778C4D-9244-B343-8AF8-FD68B3D224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6757831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e Grap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BFC1DC8C-CE12-48B4-8A41-BD61193A4584}"/>
              </a:ext>
            </a:extLst>
          </p:cNvPr>
          <p:cNvGraphicFramePr/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8954877"/>
              </p:ext>
            </p:extLst>
          </p:nvPr>
        </p:nvGraphicFramePr>
        <p:xfrm>
          <a:off x="2526056" y="2754956"/>
          <a:ext cx="7000875" cy="1825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FA8092E7-A2AF-4A7E-AE87-FCB1925342CA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2356193" y="4407544"/>
            <a:ext cx="1000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E744A90-10F5-409C-8C0D-C64C28E7C8E6}" type="datetime'''''''''''''''''''''''''''''''''''''''''''0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F7AE4550-B3B0-4A21-8A5D-F070BE9AEF48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2265706" y="3993206"/>
            <a:ext cx="190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4B3971F-511A-4D50-BE97-FCB214B7ABD8}" type="datetime'''''''''2''''''''''''''''0''''''''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2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D01BBB10-0654-400C-A530-8A22707FE222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2264118" y="3785244"/>
            <a:ext cx="192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A477117-2827-49F4-B66D-6E7E3A35B15B}" type="datetime'''3''''''''0''''''''''''''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3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BCB530D2-F495-40AE-BB47-433B378C004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2302218" y="4199581"/>
            <a:ext cx="1539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D3ECB14-53EB-4F30-AEA6-C56F225C041C}" type="datetime'''''''''''''''''''''''''''''''1''''0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1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AA7133B-7C4F-47F7-A5DF-7001023D035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2265706" y="3369319"/>
            <a:ext cx="1905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6E16283-477D-4E85-AAB0-10108DE6962F}" type="datetime'''''''''''''''''''5''0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5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2694E6E9-C4D9-4337-AE22-B006DE70CFA1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 bwMode="gray">
          <a:xfrm>
            <a:off x="2264118" y="2747019"/>
            <a:ext cx="192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B0D261F-455D-4653-809C-7695936AE538}" type="datetime'''8''0''''''''''''''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8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E00F9B44-39E9-492C-8722-4A415BF9860F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2272056" y="2954981"/>
            <a:ext cx="184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FBC3F6D-37F0-4F76-B395-D2A99C0CBE9D}" type="datetime'''''''7''''0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70</a:t>
            </a:fld>
            <a:endParaRPr lang="en-US" alt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15C3F5F2-2A55-42A6-AACC-C1A1F6B58EBB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2260943" y="3577281"/>
            <a:ext cx="1952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6FAC0E8-F2EB-42A2-8A49-559CAF5994D1}" type="datetime'''''''4''''''''0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4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D9676E74-0855-460B-A12E-6E608F775216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 bwMode="gray">
          <a:xfrm>
            <a:off x="2260943" y="3162944"/>
            <a:ext cx="1952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85763" indent="-385763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6613" indent="-3206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7463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40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7750" indent="-257175" algn="l" defTabSz="5143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B9BDE25-B694-429E-9D28-2E20C0D7DF45}" type="datetime'''''''''''''60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r">
                <a:spcBef>
                  <a:spcPct val="0"/>
                </a:spcBef>
                <a:buNone/>
              </a:pPr>
              <a:t>60</a:t>
            </a:fld>
            <a:endParaRPr lang="en-US" alt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DCDA7A8A-8BD7-4A87-8B00-57DFE84C5626}"/>
              </a:ext>
            </a:extLst>
          </p:cNvPr>
          <p:cNvSpPr txBox="1">
            <a:spLocks/>
          </p:cNvSpPr>
          <p:nvPr userDrawn="1">
            <p:custDataLst>
              <p:tags r:id="rId11"/>
            </p:custDataLst>
          </p:nvPr>
        </p:nvSpPr>
        <p:spPr bwMode="gray">
          <a:xfrm>
            <a:off x="3780182" y="4250381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35DF04-17AF-4CB8-9761-08CE751D1380}" type="datetime'0''''''''''''''''''''''''''''''''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AF9328C0-1149-42B0-8F82-AB2F1713BB50}"/>
              </a:ext>
            </a:extLst>
          </p:cNvPr>
          <p:cNvSpPr>
            <a:spLocks noGrp="1"/>
          </p:cNvSpPr>
          <p:nvPr userDrawn="1">
            <p:custDataLst>
              <p:tags r:id="rId12"/>
            </p:custDataLst>
          </p:nvPr>
        </p:nvSpPr>
        <p:spPr bwMode="auto">
          <a:xfrm>
            <a:off x="3080093" y="4548831"/>
            <a:ext cx="300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DB96932-675B-45F7-9830-EC38965173C6}" type="datetime'''''''''''N''o''''v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Nov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7BBC3423-44B9-4972-883A-8451B2943619}"/>
              </a:ext>
            </a:extLst>
          </p:cNvPr>
          <p:cNvSpPr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3707156" y="4548831"/>
            <a:ext cx="2905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39D28A-5618-42CD-8F8D-5F1B6E515B0F}" type="datetime'''''''''D''''''''''''''''e''c''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Dec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90" name="Text Placeholder 2">
            <a:extLst>
              <a:ext uri="{FF2B5EF4-FFF2-40B4-BE49-F238E27FC236}">
                <a16:creationId xmlns:a16="http://schemas.microsoft.com/office/drawing/2014/main" id="{0CB9B06A-6F0F-4C8B-8589-5AED090FCC32}"/>
              </a:ext>
            </a:extLst>
          </p:cNvPr>
          <p:cNvSpPr txBox="1">
            <a:spLocks/>
          </p:cNvSpPr>
          <p:nvPr userDrawn="1">
            <p:custDataLst>
              <p:tags r:id="rId14"/>
            </p:custDataLst>
          </p:nvPr>
        </p:nvSpPr>
        <p:spPr bwMode="gray">
          <a:xfrm>
            <a:off x="6864694" y="3829694"/>
            <a:ext cx="188913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F2101-F3D4-41A7-B402-3FE42B87B85A}" type="datetime'''''''''2''''''''''''''''''''''''''1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9E9B559F-5CF9-427F-BA93-532CE5AD577F}"/>
              </a:ext>
            </a:extLst>
          </p:cNvPr>
          <p:cNvSpPr txBox="1">
            <a:spLocks/>
          </p:cNvSpPr>
          <p:nvPr userDrawn="1">
            <p:custDataLst>
              <p:tags r:id="rId15"/>
            </p:custDataLst>
          </p:nvPr>
        </p:nvSpPr>
        <p:spPr bwMode="gray">
          <a:xfrm>
            <a:off x="4405656" y="4221806"/>
            <a:ext cx="134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5645AB-109D-4345-A5D3-354D6F58827D}" type="datetime'''''''''''''''''''''''2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32CCB731-F415-44F2-BE21-3707AA8F57EE}"/>
              </a:ext>
            </a:extLst>
          </p:cNvPr>
          <p:cNvSpPr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2433981" y="4548831"/>
            <a:ext cx="3492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BDB4B7-DC07-44F4-A7A0-2B21105C7F02}" type="datetime'''''''''''Oc''''''''t''''''''''&#10;''2''''0''1''''''8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Oct
2018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E8D392B2-3A36-4639-9E91-33D4C196232A}"/>
              </a:ext>
            </a:extLst>
          </p:cNvPr>
          <p:cNvSpPr>
            <a:spLocks noGrp="1"/>
          </p:cNvSpPr>
          <p:nvPr userDrawn="1">
            <p:custDataLst>
              <p:tags r:id="rId17"/>
            </p:custDataLst>
          </p:nvPr>
        </p:nvSpPr>
        <p:spPr bwMode="auto">
          <a:xfrm>
            <a:off x="4297706" y="4548831"/>
            <a:ext cx="350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A15E2AE-4894-4E14-BE48-7EDE7DF93329}" type="datetime'''Ja''''n&#10;''''''''''''20''''1''''9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an
20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4DF55CD6-6D35-41CF-A923-E3FA9A683213}"/>
              </a:ext>
            </a:extLst>
          </p:cNvPr>
          <p:cNvSpPr>
            <a:spLocks noGrp="1"/>
          </p:cNvSpPr>
          <p:nvPr userDrawn="1">
            <p:custDataLst>
              <p:tags r:id="rId18"/>
            </p:custDataLst>
          </p:nvPr>
        </p:nvSpPr>
        <p:spPr bwMode="auto">
          <a:xfrm>
            <a:off x="4958106" y="4548831"/>
            <a:ext cx="2746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EFED952-8728-4B6C-BDFB-E3AB8083A1FC}" type="datetime'''''''''''''''F''''''''''''''''''e''''''''''''''''b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Feb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97F8BD97-A937-46DC-97A6-EF1D56F2DDDF}"/>
              </a:ext>
            </a:extLst>
          </p:cNvPr>
          <p:cNvSpPr txBox="1">
            <a:spLocks/>
          </p:cNvSpPr>
          <p:nvPr userDrawn="1">
            <p:custDataLst>
              <p:tags r:id="rId19"/>
            </p:custDataLst>
          </p:nvPr>
        </p:nvSpPr>
        <p:spPr bwMode="gray">
          <a:xfrm>
            <a:off x="2646707" y="4255144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4EDC6A-14F5-4015-842E-F9FA39B0C4D0}" type="datetime'''''''''''''''''''''''''''''''''''''''0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 useBgFill="1">
        <p:nvSpPr>
          <p:cNvPr id="96" name="Text Placeholder 2">
            <a:extLst>
              <a:ext uri="{FF2B5EF4-FFF2-40B4-BE49-F238E27FC236}">
                <a16:creationId xmlns:a16="http://schemas.microsoft.com/office/drawing/2014/main" id="{EDD6B960-DEAD-4721-8210-D7F21A5FF8AE}"/>
              </a:ext>
            </a:extLst>
          </p:cNvPr>
          <p:cNvSpPr txBox="1">
            <a:spLocks/>
          </p:cNvSpPr>
          <p:nvPr userDrawn="1">
            <p:custDataLst>
              <p:tags r:id="rId20"/>
            </p:custDataLst>
          </p:nvPr>
        </p:nvSpPr>
        <p:spPr bwMode="gray">
          <a:xfrm>
            <a:off x="5651843" y="4107506"/>
            <a:ext cx="128588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71726A-579C-45F3-BDCE-962E49038AEC}" type="datetime'''''''''''''7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A6FF8EA3-FF70-4973-8DB4-7257F12F0CF3}"/>
              </a:ext>
            </a:extLst>
          </p:cNvPr>
          <p:cNvSpPr txBox="1">
            <a:spLocks/>
          </p:cNvSpPr>
          <p:nvPr userDrawn="1">
            <p:custDataLst>
              <p:tags r:id="rId21"/>
            </p:custDataLst>
          </p:nvPr>
        </p:nvSpPr>
        <p:spPr bwMode="gray">
          <a:xfrm>
            <a:off x="3157882" y="4250381"/>
            <a:ext cx="144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D31093-26E9-4884-8F73-6EB10406495A}" type="datetime'''''''''''''''''''''''''''''''''''0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>
              <a:sym typeface="EF Circular Book" panose="020B0604020101020102" pitchFamily="34" charset="77"/>
            </a:endParaRPr>
          </a:p>
        </p:txBody>
      </p:sp>
      <p:sp useBgFill="1">
        <p:nvSpPr>
          <p:cNvPr id="98" name="Text Placeholder 2">
            <a:extLst>
              <a:ext uri="{FF2B5EF4-FFF2-40B4-BE49-F238E27FC236}">
                <a16:creationId xmlns:a16="http://schemas.microsoft.com/office/drawing/2014/main" id="{2499F133-7DF5-4B58-847F-3EBC4A84B720}"/>
              </a:ext>
            </a:extLst>
          </p:cNvPr>
          <p:cNvSpPr txBox="1">
            <a:spLocks/>
          </p:cNvSpPr>
          <p:nvPr userDrawn="1">
            <p:custDataLst>
              <p:tags r:id="rId22"/>
            </p:custDataLst>
          </p:nvPr>
        </p:nvSpPr>
        <p:spPr bwMode="gray">
          <a:xfrm>
            <a:off x="6240807" y="3977331"/>
            <a:ext cx="193675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FCB23C-1DA8-4E7E-A638-55E6B17E371D}" type="datetime'''''''''''''''''''''''''''''''''''''''''''1''''4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8D4BBE75-9220-4DED-B805-66EB742FB97B}"/>
              </a:ext>
            </a:extLst>
          </p:cNvPr>
          <p:cNvSpPr>
            <a:spLocks noGrp="1"/>
          </p:cNvSpPr>
          <p:nvPr userDrawn="1">
            <p:custDataLst>
              <p:tags r:id="rId23"/>
            </p:custDataLst>
          </p:nvPr>
        </p:nvSpPr>
        <p:spPr bwMode="auto">
          <a:xfrm>
            <a:off x="8072781" y="4548831"/>
            <a:ext cx="2587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8351FF-B8BB-4CA2-8754-25A0B7F7DBF0}" type="datetime'''''''J''''''u''''''''''''''''''''''''l'''' 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l 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A2B9464C-A2DB-43C8-BDE6-B38074F40DC6}"/>
              </a:ext>
            </a:extLst>
          </p:cNvPr>
          <p:cNvSpPr>
            <a:spLocks noGrp="1"/>
          </p:cNvSpPr>
          <p:nvPr userDrawn="1">
            <p:custDataLst>
              <p:tags r:id="rId24"/>
            </p:custDataLst>
          </p:nvPr>
        </p:nvSpPr>
        <p:spPr bwMode="auto">
          <a:xfrm>
            <a:off x="6798018" y="4548831"/>
            <a:ext cx="3206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1EEACD-B2E5-494C-9029-8CC87201A57F}" type="datetime'''''''''''''''''''''''''''Ma''''''y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y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101" name="Text Placeholder 2">
            <a:extLst>
              <a:ext uri="{FF2B5EF4-FFF2-40B4-BE49-F238E27FC236}">
                <a16:creationId xmlns:a16="http://schemas.microsoft.com/office/drawing/2014/main" id="{F6DCA425-1958-4396-B669-A29EB7975F59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 bwMode="gray">
          <a:xfrm>
            <a:off x="7466356" y="3663006"/>
            <a:ext cx="228600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B30EBD-7E46-4567-8BE7-BEE5176A9BB5}" type="datetime'''''''''''''''''''2''''''''''''''''''''''''''9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5D897A4C-A273-4197-A155-BCA1886CB9AC}"/>
              </a:ext>
            </a:extLst>
          </p:cNvPr>
          <p:cNvSpPr>
            <a:spLocks noGrp="1"/>
          </p:cNvSpPr>
          <p:nvPr userDrawn="1">
            <p:custDataLst>
              <p:tags r:id="rId26"/>
            </p:custDataLst>
          </p:nvPr>
        </p:nvSpPr>
        <p:spPr bwMode="auto">
          <a:xfrm>
            <a:off x="7447306" y="4548831"/>
            <a:ext cx="268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7C48E2C-B63F-4CFB-9600-0C89D04898B7}" type="datetime'''''''''''''''''''''J''''''''''''u''n''''''''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Jun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103" name="Text Placeholder 2">
            <a:extLst>
              <a:ext uri="{FF2B5EF4-FFF2-40B4-BE49-F238E27FC236}">
                <a16:creationId xmlns:a16="http://schemas.microsoft.com/office/drawing/2014/main" id="{C9F6CF2E-CF66-4BB1-8034-70CAB3A171C0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 bwMode="gray">
          <a:xfrm>
            <a:off x="8091832" y="3496319"/>
            <a:ext cx="220663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352CA0-F1DF-4941-8526-2228C225DC38}" type="datetime'''''''''''''3''''''7''''''''''''''''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C21D29F-DA3F-447D-9F6D-248988D552AA}"/>
              </a:ext>
            </a:extLst>
          </p:cNvPr>
          <p:cNvSpPr>
            <a:spLocks noGrp="1"/>
          </p:cNvSpPr>
          <p:nvPr userDrawn="1">
            <p:custDataLst>
              <p:tags r:id="rId28"/>
            </p:custDataLst>
          </p:nvPr>
        </p:nvSpPr>
        <p:spPr bwMode="auto">
          <a:xfrm>
            <a:off x="5569293" y="4548831"/>
            <a:ext cx="293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D5B0C68-0573-43F0-AF90-925CC8903C87}" type="datetime'''''''''''''''Ma''''''''''''''r''''''''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Mar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 useBgFill="1">
        <p:nvSpPr>
          <p:cNvPr id="105" name="Text Placeholder 2">
            <a:extLst>
              <a:ext uri="{FF2B5EF4-FFF2-40B4-BE49-F238E27FC236}">
                <a16:creationId xmlns:a16="http://schemas.microsoft.com/office/drawing/2014/main" id="{06200416-72A7-4938-8638-E83E2A42585A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8709368" y="3331219"/>
            <a:ext cx="230188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5A4CB-760D-4C4C-814F-EDC1477F8637}" type="datetime'4''''''''''''''''5''''''''''''''''''''''''''''''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1200">
              <a:sym typeface="EF Circular Book" panose="020B0604020101020102" pitchFamily="34" charset="77"/>
            </a:endParaRPr>
          </a:p>
        </p:txBody>
      </p:sp>
      <p:sp useBgFill="1">
        <p:nvSpPr>
          <p:cNvPr id="106" name="Text Placeholder 2">
            <a:extLst>
              <a:ext uri="{FF2B5EF4-FFF2-40B4-BE49-F238E27FC236}">
                <a16:creationId xmlns:a16="http://schemas.microsoft.com/office/drawing/2014/main" id="{F5EB927E-A904-4A75-AF89-9F418B74D242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gray">
          <a:xfrm>
            <a:off x="9331669" y="3159769"/>
            <a:ext cx="227013" cy="182563"/>
          </a:xfrm>
          <a:prstGeom prst="rect">
            <a:avLst/>
          </a:prstGeom>
          <a:ln>
            <a:noFill/>
          </a:ln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F6D45-8010-4D1D-BB1A-CD7F470EDFEF}" type="datetime'5''''''''''''''''3''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E948D361-E4B9-4104-A5A0-3158FC75FE80}"/>
              </a:ext>
            </a:extLst>
          </p:cNvPr>
          <p:cNvSpPr>
            <a:spLocks noGrp="1"/>
          </p:cNvSpPr>
          <p:nvPr userDrawn="1">
            <p:custDataLst>
              <p:tags r:id="rId31"/>
            </p:custDataLst>
          </p:nvPr>
        </p:nvSpPr>
        <p:spPr bwMode="auto">
          <a:xfrm>
            <a:off x="6204293" y="4548831"/>
            <a:ext cx="266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5A9653-D5E3-48C7-A197-20750F1AD37E}" type="datetime'''''''''''''''''''''''A''''''''''''p''''''''''''''r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pr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0310FD12-2108-4DE6-88EF-23F1A7828038}"/>
              </a:ext>
            </a:extLst>
          </p:cNvPr>
          <p:cNvSpPr>
            <a:spLocks noGrp="1"/>
          </p:cNvSpPr>
          <p:nvPr userDrawn="1">
            <p:custDataLst>
              <p:tags r:id="rId32"/>
            </p:custDataLst>
          </p:nvPr>
        </p:nvSpPr>
        <p:spPr bwMode="auto">
          <a:xfrm>
            <a:off x="9269756" y="4548831"/>
            <a:ext cx="350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F45872-2982-4057-8970-F802FE2D8C6B}" type="datetime'''''S''ep''''''&#10;''''''''''''2''0''''1''''''''''''''''''''''9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Sep
2019</a:t>
            </a:fld>
            <a:endParaRPr lang="en-US" sz="120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326EB117-3B08-4237-9A67-0E2378FE1E08}"/>
              </a:ext>
            </a:extLst>
          </p:cNvPr>
          <p:cNvSpPr>
            <a:spLocks noGrp="1"/>
          </p:cNvSpPr>
          <p:nvPr userDrawn="1">
            <p:custDataLst>
              <p:tags r:id="rId33"/>
            </p:custDataLst>
          </p:nvPr>
        </p:nvSpPr>
        <p:spPr bwMode="auto">
          <a:xfrm>
            <a:off x="8676031" y="4548831"/>
            <a:ext cx="295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86507" indent="-386507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1pPr>
            <a:lvl2pPr marL="837433" indent="-32209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2pPr>
            <a:lvl3pPr marL="1288361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3pPr>
            <a:lvl4pPr marL="1803703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4pPr>
            <a:lvl5pPr marL="2319044" indent="-257670" algn="l" defTabSz="515344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Helvetica" pitchFamily="34" charset="0"/>
                <a:ea typeface="ＭＳ Ｐゴシック" pitchFamily="34" charset="-128"/>
                <a:cs typeface="Helvetica" pitchFamily="34" charset="0"/>
              </a:defRPr>
            </a:lvl5pPr>
            <a:lvl6pPr marL="2834390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9732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65075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0419" indent="-257670" algn="l" defTabSz="51534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4F1A4B-3C84-4B5E-A4CC-94FE9DE2B4D5}" type="datetime'''''''''''''''''''''A''''''u''''''''''''''''''''''g'''''''''">
              <a:rPr lang="en-US" altLang="en-US" sz="1200" smtClean="0">
                <a:latin typeface="EF Circular Book" panose="020B0604020101020102" pitchFamily="34" charset="77"/>
                <a:ea typeface="+mn-ea"/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buNone/>
              </a:pPr>
              <a:t>Aug</a:t>
            </a:fld>
            <a:endParaRPr lang="en-US" sz="1200" dirty="0">
              <a:latin typeface="EF Circular Book" panose="020B0604020101020102" pitchFamily="34" charset="77"/>
              <a:ea typeface="+mn-ea"/>
              <a:sym typeface="EF Circular Book" panose="020B0604020101020102" pitchFamily="34" charset="77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64AD1883-4275-4AEA-B3C9-319DDB848627}"/>
              </a:ext>
            </a:extLst>
          </p:cNvPr>
          <p:cNvSpPr txBox="1">
            <a:spLocks/>
          </p:cNvSpPr>
          <p:nvPr userDrawn="1">
            <p:custDataLst>
              <p:tags r:id="rId34"/>
            </p:custDataLst>
          </p:nvPr>
        </p:nvSpPr>
        <p:spPr bwMode="gray">
          <a:xfrm>
            <a:off x="5024781" y="4185294"/>
            <a:ext cx="1397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EF Circular Book" panose="020B0604020101020102" pitchFamily="34" charset="77"/>
                <a:ea typeface="+mn-ea"/>
                <a:cs typeface="EF Circular Book" panose="020B0604020101020102" pitchFamily="34" charset="77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ADE88-B18A-47E5-80EA-F45471DFC572}" type="datetime'''''''''''''''''''''''''''''''''''4'''''''">
              <a:rPr lang="en-US" altLang="en-US" sz="1200" smtClean="0">
                <a:sym typeface="EF Circular Book" panose="020B0604020101020102" pitchFamily="34" charset="77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>
              <a:sym typeface="EF Circular Book" panose="020B0604020101020102" pitchFamily="34" charset="77"/>
            </a:endParaRP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643BFD2E-C49F-4247-AA59-42774D72B6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11179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e Grap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6E635540-5661-4328-BD61-3EF19EC4030A}"/>
              </a:ext>
            </a:extLst>
          </p:cNvPr>
          <p:cNvSpPr/>
          <p:nvPr userDrawn="1"/>
        </p:nvSpPr>
        <p:spPr>
          <a:xfrm>
            <a:off x="1879832" y="2027096"/>
            <a:ext cx="8298180" cy="1740079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3DA381C-B6C8-40AC-AA26-D124EFC21823}"/>
              </a:ext>
            </a:extLst>
          </p:cNvPr>
          <p:cNvSpPr/>
          <p:nvPr userDrawn="1"/>
        </p:nvSpPr>
        <p:spPr>
          <a:xfrm>
            <a:off x="1879832" y="3735106"/>
            <a:ext cx="8298180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xxx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263ED40-1AA4-40F8-8F25-49C5EFFE0538}"/>
              </a:ext>
            </a:extLst>
          </p:cNvPr>
          <p:cNvSpPr/>
          <p:nvPr userDrawn="1"/>
        </p:nvSpPr>
        <p:spPr>
          <a:xfrm>
            <a:off x="2306001" y="2479334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118C165-64CC-438B-BDC0-D87CDF446CEB}"/>
              </a:ext>
            </a:extLst>
          </p:cNvPr>
          <p:cNvSpPr/>
          <p:nvPr userDrawn="1"/>
        </p:nvSpPr>
        <p:spPr>
          <a:xfrm>
            <a:off x="3335593" y="2479334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78CD6AC-FA39-4AF1-B587-ACB1F6C9049B}"/>
              </a:ext>
            </a:extLst>
          </p:cNvPr>
          <p:cNvSpPr/>
          <p:nvPr userDrawn="1"/>
        </p:nvSpPr>
        <p:spPr>
          <a:xfrm>
            <a:off x="4376693" y="2479361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8A189AA-A72C-47D3-A125-C12D10A12757}"/>
              </a:ext>
            </a:extLst>
          </p:cNvPr>
          <p:cNvSpPr/>
          <p:nvPr userDrawn="1"/>
        </p:nvSpPr>
        <p:spPr>
          <a:xfrm>
            <a:off x="5368374" y="2471193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57785B9-2AC3-4B0D-9825-461AF3A175D4}"/>
              </a:ext>
            </a:extLst>
          </p:cNvPr>
          <p:cNvSpPr/>
          <p:nvPr userDrawn="1"/>
        </p:nvSpPr>
        <p:spPr>
          <a:xfrm>
            <a:off x="7443469" y="2473623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2784D23-F099-4770-9D78-9C4FD8195E37}"/>
              </a:ext>
            </a:extLst>
          </p:cNvPr>
          <p:cNvSpPr/>
          <p:nvPr userDrawn="1"/>
        </p:nvSpPr>
        <p:spPr>
          <a:xfrm>
            <a:off x="8452341" y="2479334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7140515-55AB-49CD-B238-C73DB932AB86}"/>
              </a:ext>
            </a:extLst>
          </p:cNvPr>
          <p:cNvCxnSpPr>
            <a:cxnSpLocks/>
          </p:cNvCxnSpPr>
          <p:nvPr userDrawn="1"/>
        </p:nvCxnSpPr>
        <p:spPr>
          <a:xfrm>
            <a:off x="5052570" y="2639314"/>
            <a:ext cx="312986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23A077A4-8402-44FB-BB11-934F9A43BB7E}"/>
              </a:ext>
            </a:extLst>
          </p:cNvPr>
          <p:cNvCxnSpPr>
            <a:cxnSpLocks/>
          </p:cNvCxnSpPr>
          <p:nvPr userDrawn="1"/>
        </p:nvCxnSpPr>
        <p:spPr>
          <a:xfrm>
            <a:off x="6064355" y="2639096"/>
            <a:ext cx="350414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D50CD71-6568-4E97-9265-30A737C7E810}"/>
              </a:ext>
            </a:extLst>
          </p:cNvPr>
          <p:cNvCxnSpPr>
            <a:cxnSpLocks/>
          </p:cNvCxnSpPr>
          <p:nvPr userDrawn="1"/>
        </p:nvCxnSpPr>
        <p:spPr>
          <a:xfrm>
            <a:off x="8126936" y="2631982"/>
            <a:ext cx="327739" cy="243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718DF3C3-03DC-4241-A4C9-98DE39C72CCA}"/>
              </a:ext>
            </a:extLst>
          </p:cNvPr>
          <p:cNvSpPr/>
          <p:nvPr userDrawn="1"/>
        </p:nvSpPr>
        <p:spPr>
          <a:xfrm>
            <a:off x="4058571" y="2679307"/>
            <a:ext cx="164807" cy="98122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600" b="1">
              <a:solidFill>
                <a:schemeClr val="tx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0ADA67C-6ABF-43F6-946A-1073C3E4FBD5}"/>
              </a:ext>
            </a:extLst>
          </p:cNvPr>
          <p:cNvSpPr/>
          <p:nvPr userDrawn="1"/>
        </p:nvSpPr>
        <p:spPr>
          <a:xfrm>
            <a:off x="5065570" y="2679307"/>
            <a:ext cx="164807" cy="98122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600" b="1">
              <a:solidFill>
                <a:schemeClr val="tx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45CE010-FC6F-4C81-B624-9128B5F7245E}"/>
              </a:ext>
            </a:extLst>
          </p:cNvPr>
          <p:cNvGrpSpPr/>
          <p:nvPr userDrawn="1"/>
        </p:nvGrpSpPr>
        <p:grpSpPr>
          <a:xfrm>
            <a:off x="2446580" y="3855081"/>
            <a:ext cx="2303323" cy="472191"/>
            <a:chOff x="1291223" y="3401074"/>
            <a:chExt cx="3071097" cy="629588"/>
          </a:xfrm>
          <a:solidFill>
            <a:schemeClr val="bg1"/>
          </a:solidFill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128DC27-4AF7-464D-A202-212E00723B6A}"/>
                </a:ext>
              </a:extLst>
            </p:cNvPr>
            <p:cNvSpPr/>
            <p:nvPr/>
          </p:nvSpPr>
          <p:spPr>
            <a:xfrm>
              <a:off x="4142577" y="3401074"/>
              <a:ext cx="219743" cy="13082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6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20B35B6-DB22-49B5-8CDE-70E6E58A552A}"/>
                </a:ext>
              </a:extLst>
            </p:cNvPr>
            <p:cNvSpPr/>
            <p:nvPr/>
          </p:nvSpPr>
          <p:spPr>
            <a:xfrm>
              <a:off x="1291223" y="3660009"/>
              <a:ext cx="625020" cy="37065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>
                  <a:solidFill>
                    <a:schemeClr val="tx1"/>
                  </a:solidFill>
                  <a:latin typeface="Helvetica" pitchFamily="34" charset="0"/>
                  <a:cs typeface="Helvetica" pitchFamily="34" charset="0"/>
                </a:rPr>
                <a:t>48%</a:t>
              </a: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9FBA3719-5F64-44C8-B8DA-4C2FF3C44768}"/>
              </a:ext>
            </a:extLst>
          </p:cNvPr>
          <p:cNvSpPr/>
          <p:nvPr userDrawn="1"/>
        </p:nvSpPr>
        <p:spPr>
          <a:xfrm>
            <a:off x="1879832" y="4390062"/>
            <a:ext cx="8295589" cy="1124982"/>
          </a:xfrm>
          <a:prstGeom prst="rect">
            <a:avLst/>
          </a:prstGeom>
          <a:solidFill>
            <a:srgbClr val="003C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TIM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6B24742-19C1-45DC-A1B8-7F8C3D7A4441}"/>
              </a:ext>
            </a:extLst>
          </p:cNvPr>
          <p:cNvSpPr/>
          <p:nvPr userDrawn="1"/>
        </p:nvSpPr>
        <p:spPr>
          <a:xfrm>
            <a:off x="7986773" y="3346400"/>
            <a:ext cx="1074293" cy="32987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Σ</a:t>
            </a:r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 = </a:t>
            </a:r>
            <a:r>
              <a:rPr lang="en-US" sz="9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E51B77D-5482-4744-AD95-14922F080F02}"/>
              </a:ext>
            </a:extLst>
          </p:cNvPr>
          <p:cNvSpPr/>
          <p:nvPr userDrawn="1"/>
        </p:nvSpPr>
        <p:spPr>
          <a:xfrm>
            <a:off x="7955092" y="4007057"/>
            <a:ext cx="1163593" cy="32987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Σ</a:t>
            </a:r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 = </a:t>
            </a:r>
            <a:r>
              <a:rPr lang="en-US" sz="9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98%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F98ACD7-5D73-4902-8306-8C4587D444AA}"/>
              </a:ext>
            </a:extLst>
          </p:cNvPr>
          <p:cNvGrpSpPr/>
          <p:nvPr userDrawn="1"/>
        </p:nvGrpSpPr>
        <p:grpSpPr>
          <a:xfrm>
            <a:off x="2638015" y="4748531"/>
            <a:ext cx="5998268" cy="327327"/>
            <a:chOff x="1589020" y="5367634"/>
            <a:chExt cx="7997690" cy="328330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9AE0F758-B772-4558-940C-3C90E7ADEDEF}"/>
                </a:ext>
              </a:extLst>
            </p:cNvPr>
            <p:cNvCxnSpPr/>
            <p:nvPr/>
          </p:nvCxnSpPr>
          <p:spPr>
            <a:xfrm>
              <a:off x="1589020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B9D59339-C00B-4841-96B2-EDB8DF774AAC}"/>
                </a:ext>
              </a:extLst>
            </p:cNvPr>
            <p:cNvCxnSpPr/>
            <p:nvPr/>
          </p:nvCxnSpPr>
          <p:spPr>
            <a:xfrm>
              <a:off x="2922215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718DC89-E89F-4193-97BB-F1B19A10ED68}"/>
                </a:ext>
              </a:extLst>
            </p:cNvPr>
            <p:cNvCxnSpPr/>
            <p:nvPr/>
          </p:nvCxnSpPr>
          <p:spPr>
            <a:xfrm>
              <a:off x="4255410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C0FC3F6-0E6E-4B03-BBDD-960C2C425ADC}"/>
                </a:ext>
              </a:extLst>
            </p:cNvPr>
            <p:cNvCxnSpPr/>
            <p:nvPr/>
          </p:nvCxnSpPr>
          <p:spPr>
            <a:xfrm>
              <a:off x="5588605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9D196A9-9D08-4150-B393-A53465C2BE60}"/>
                </a:ext>
              </a:extLst>
            </p:cNvPr>
            <p:cNvCxnSpPr/>
            <p:nvPr/>
          </p:nvCxnSpPr>
          <p:spPr>
            <a:xfrm>
              <a:off x="6921800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2635CE0-6885-4FB8-AAEC-5EFD0D230CF5}"/>
                </a:ext>
              </a:extLst>
            </p:cNvPr>
            <p:cNvCxnSpPr/>
            <p:nvPr/>
          </p:nvCxnSpPr>
          <p:spPr>
            <a:xfrm>
              <a:off x="8254996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CF883F2A-2214-40F8-90BD-9DDE9DBB755B}"/>
                </a:ext>
              </a:extLst>
            </p:cNvPr>
            <p:cNvSpPr/>
            <p:nvPr/>
          </p:nvSpPr>
          <p:spPr>
            <a:xfrm>
              <a:off x="2037432" y="5367634"/>
              <a:ext cx="376584" cy="277848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2 days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E93CDF6-B058-4795-A26F-ACB2D9D60C27}"/>
                </a:ext>
              </a:extLst>
            </p:cNvPr>
            <p:cNvSpPr/>
            <p:nvPr/>
          </p:nvSpPr>
          <p:spPr>
            <a:xfrm>
              <a:off x="3454440" y="5374074"/>
              <a:ext cx="365869" cy="277848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1 day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4B18944-892B-422D-943B-82FBB6D74438}"/>
                </a:ext>
              </a:extLst>
            </p:cNvPr>
            <p:cNvSpPr/>
            <p:nvPr/>
          </p:nvSpPr>
          <p:spPr>
            <a:xfrm>
              <a:off x="4706164" y="5441144"/>
              <a:ext cx="373836" cy="130829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3 day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CDF2C45-3648-4EA1-B24A-ED3DBD861B85}"/>
                </a:ext>
              </a:extLst>
            </p:cNvPr>
            <p:cNvSpPr/>
            <p:nvPr/>
          </p:nvSpPr>
          <p:spPr>
            <a:xfrm>
              <a:off x="6067679" y="5441144"/>
              <a:ext cx="363096" cy="130829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0 days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F4718EA-841A-4ABC-9B6F-6F6B780A0E25}"/>
                </a:ext>
              </a:extLst>
            </p:cNvPr>
            <p:cNvSpPr/>
            <p:nvPr/>
          </p:nvSpPr>
          <p:spPr>
            <a:xfrm>
              <a:off x="8678455" y="5374072"/>
              <a:ext cx="535944" cy="321892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7 to 12 days</a:t>
              </a:r>
            </a:p>
          </p:txBody>
        </p:sp>
      </p:grpSp>
      <p:sp>
        <p:nvSpPr>
          <p:cNvPr id="69" name="Rectangle 68">
            <a:extLst>
              <a:ext uri="{FF2B5EF4-FFF2-40B4-BE49-F238E27FC236}">
                <a16:creationId xmlns:a16="http://schemas.microsoft.com/office/drawing/2014/main" id="{A1A98334-6F13-42FF-BA93-FCC5FC39820B}"/>
              </a:ext>
            </a:extLst>
          </p:cNvPr>
          <p:cNvSpPr/>
          <p:nvPr userDrawn="1"/>
        </p:nvSpPr>
        <p:spPr>
          <a:xfrm>
            <a:off x="8927122" y="4739440"/>
            <a:ext cx="1163593" cy="32987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9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Σ</a:t>
            </a:r>
            <a:r>
              <a:rPr lang="en-US" sz="9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 = 15 - 20  days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174E0EDD-E4D9-4C53-BFCC-34AB155FF201}"/>
              </a:ext>
            </a:extLst>
          </p:cNvPr>
          <p:cNvCxnSpPr>
            <a:cxnSpLocks/>
          </p:cNvCxnSpPr>
          <p:nvPr userDrawn="1"/>
        </p:nvCxnSpPr>
        <p:spPr>
          <a:xfrm>
            <a:off x="4720663" y="2822260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BDB2B0DF-D197-490B-A12C-8BA4BB24EFFF}"/>
              </a:ext>
            </a:extLst>
          </p:cNvPr>
          <p:cNvSpPr/>
          <p:nvPr userDrawn="1"/>
        </p:nvSpPr>
        <p:spPr>
          <a:xfrm>
            <a:off x="6414769" y="2469710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8D0D032A-7C28-430E-9D4B-DCA793F8D35A}"/>
              </a:ext>
            </a:extLst>
          </p:cNvPr>
          <p:cNvCxnSpPr>
            <a:cxnSpLocks/>
          </p:cNvCxnSpPr>
          <p:nvPr userDrawn="1"/>
        </p:nvCxnSpPr>
        <p:spPr>
          <a:xfrm>
            <a:off x="7759028" y="2816523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755E0D6D-4204-4B4D-9EB7-630BE238E208}"/>
              </a:ext>
            </a:extLst>
          </p:cNvPr>
          <p:cNvCxnSpPr>
            <a:cxnSpLocks/>
          </p:cNvCxnSpPr>
          <p:nvPr userDrawn="1"/>
        </p:nvCxnSpPr>
        <p:spPr>
          <a:xfrm>
            <a:off x="7100568" y="2645073"/>
            <a:ext cx="350414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65D0ACB0-CCA9-472B-80C2-55DA191068CE}"/>
              </a:ext>
            </a:extLst>
          </p:cNvPr>
          <p:cNvCxnSpPr>
            <a:cxnSpLocks/>
          </p:cNvCxnSpPr>
          <p:nvPr userDrawn="1"/>
        </p:nvCxnSpPr>
        <p:spPr>
          <a:xfrm>
            <a:off x="2981618" y="2635418"/>
            <a:ext cx="350899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1AA985B4-9332-49ED-AB7C-415AD78AECFB}"/>
              </a:ext>
            </a:extLst>
          </p:cNvPr>
          <p:cNvCxnSpPr>
            <a:cxnSpLocks/>
          </p:cNvCxnSpPr>
          <p:nvPr userDrawn="1"/>
        </p:nvCxnSpPr>
        <p:spPr>
          <a:xfrm>
            <a:off x="2669928" y="2822234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1DDD43B4-3198-4BF1-AC5D-1D6D2B633CAF}"/>
              </a:ext>
            </a:extLst>
          </p:cNvPr>
          <p:cNvCxnSpPr>
            <a:cxnSpLocks/>
          </p:cNvCxnSpPr>
          <p:nvPr userDrawn="1"/>
        </p:nvCxnSpPr>
        <p:spPr>
          <a:xfrm>
            <a:off x="6757669" y="2812609"/>
            <a:ext cx="0" cy="1316768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3BB3EEE-B683-4EC3-B578-02A18DCEAFE6}"/>
              </a:ext>
            </a:extLst>
          </p:cNvPr>
          <p:cNvSpPr/>
          <p:nvPr userDrawn="1"/>
        </p:nvSpPr>
        <p:spPr>
          <a:xfrm>
            <a:off x="7027568" y="4838742"/>
            <a:ext cx="290181" cy="109410"/>
          </a:xfrm>
          <a:prstGeom prst="rect">
            <a:avLst/>
          </a:prstGeom>
          <a:solidFill>
            <a:srgbClr val="003C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2 days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867D060-C656-4E42-86BB-8D39FB5227E2}"/>
              </a:ext>
            </a:extLst>
          </p:cNvPr>
          <p:cNvCxnSpPr>
            <a:cxnSpLocks/>
          </p:cNvCxnSpPr>
          <p:nvPr userDrawn="1"/>
        </p:nvCxnSpPr>
        <p:spPr>
          <a:xfrm>
            <a:off x="3659017" y="2811663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DDABC793-3EA6-44AF-A1C6-BCA270E226F8}"/>
              </a:ext>
            </a:extLst>
          </p:cNvPr>
          <p:cNvSpPr/>
          <p:nvPr userDrawn="1"/>
        </p:nvSpPr>
        <p:spPr>
          <a:xfrm>
            <a:off x="3440808" y="4053145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46%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0159296-C8F7-45D7-9E44-128FF4BEABD3}"/>
              </a:ext>
            </a:extLst>
          </p:cNvPr>
          <p:cNvSpPr/>
          <p:nvPr userDrawn="1"/>
        </p:nvSpPr>
        <p:spPr>
          <a:xfrm>
            <a:off x="4476988" y="4074279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1%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592F743F-9ED4-414B-B786-1CA3353757C6}"/>
              </a:ext>
            </a:extLst>
          </p:cNvPr>
          <p:cNvCxnSpPr>
            <a:cxnSpLocks/>
          </p:cNvCxnSpPr>
          <p:nvPr userDrawn="1"/>
        </p:nvCxnSpPr>
        <p:spPr>
          <a:xfrm>
            <a:off x="5711274" y="2822260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89B742CC-EEBA-43B7-9E43-3D85721B1DDA}"/>
              </a:ext>
            </a:extLst>
          </p:cNvPr>
          <p:cNvSpPr/>
          <p:nvPr userDrawn="1"/>
        </p:nvSpPr>
        <p:spPr>
          <a:xfrm>
            <a:off x="5485437" y="4079464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C3437DB-25FA-4CD9-9A0B-8C0EF03E8B3C}"/>
              </a:ext>
            </a:extLst>
          </p:cNvPr>
          <p:cNvSpPr/>
          <p:nvPr userDrawn="1"/>
        </p:nvSpPr>
        <p:spPr>
          <a:xfrm>
            <a:off x="6523286" y="4058946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&lt;1%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A4EEDFB-1537-43D3-964B-5A5CA7891780}"/>
              </a:ext>
            </a:extLst>
          </p:cNvPr>
          <p:cNvSpPr/>
          <p:nvPr userDrawn="1"/>
        </p:nvSpPr>
        <p:spPr>
          <a:xfrm>
            <a:off x="7541674" y="4058946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0%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9B8CA31-1EC6-4AE3-9E92-EED27A8625BF}"/>
              </a:ext>
            </a:extLst>
          </p:cNvPr>
          <p:cNvSpPr/>
          <p:nvPr userDrawn="1"/>
        </p:nvSpPr>
        <p:spPr>
          <a:xfrm>
            <a:off x="2925919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52%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7FB33D9B-50DF-4103-9EA2-720CE4BDFD8F}"/>
              </a:ext>
            </a:extLst>
          </p:cNvPr>
          <p:cNvSpPr/>
          <p:nvPr userDrawn="1"/>
        </p:nvSpPr>
        <p:spPr>
          <a:xfrm>
            <a:off x="3968719" y="2362157"/>
            <a:ext cx="412208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6%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7F902289-A278-4169-8E6B-9BC60CA8CD16}"/>
              </a:ext>
            </a:extLst>
          </p:cNvPr>
          <p:cNvSpPr/>
          <p:nvPr userDrawn="1"/>
        </p:nvSpPr>
        <p:spPr>
          <a:xfrm>
            <a:off x="4980627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5%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F65E13C5-DAC3-4F19-A7C4-382106D64105}"/>
              </a:ext>
            </a:extLst>
          </p:cNvPr>
          <p:cNvSpPr/>
          <p:nvPr userDrawn="1"/>
        </p:nvSpPr>
        <p:spPr>
          <a:xfrm>
            <a:off x="5992561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3%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B6CFDD3-9866-4399-A898-4C1B43DBC93C}"/>
              </a:ext>
            </a:extLst>
          </p:cNvPr>
          <p:cNvSpPr/>
          <p:nvPr userDrawn="1"/>
        </p:nvSpPr>
        <p:spPr>
          <a:xfrm>
            <a:off x="7032373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E2C7649-87CB-4DE7-8C5A-2D07ACD7389A}"/>
              </a:ext>
            </a:extLst>
          </p:cNvPr>
          <p:cNvSpPr/>
          <p:nvPr userDrawn="1"/>
        </p:nvSpPr>
        <p:spPr>
          <a:xfrm>
            <a:off x="8050084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B2A4864D-228B-4C0F-B02D-F2DF83953679}"/>
              </a:ext>
            </a:extLst>
          </p:cNvPr>
          <p:cNvCxnSpPr>
            <a:cxnSpLocks/>
          </p:cNvCxnSpPr>
          <p:nvPr userDrawn="1"/>
        </p:nvCxnSpPr>
        <p:spPr>
          <a:xfrm>
            <a:off x="4021393" y="2624154"/>
            <a:ext cx="350414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Oval 126">
            <a:extLst>
              <a:ext uri="{FF2B5EF4-FFF2-40B4-BE49-F238E27FC236}">
                <a16:creationId xmlns:a16="http://schemas.microsoft.com/office/drawing/2014/main" id="{71642EEA-8268-4011-AF8B-51576AE42923}"/>
              </a:ext>
            </a:extLst>
          </p:cNvPr>
          <p:cNvSpPr/>
          <p:nvPr userDrawn="1"/>
        </p:nvSpPr>
        <p:spPr>
          <a:xfrm>
            <a:off x="3617549" y="3315663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2B8B4C7A-BDE4-46D5-A709-FA87D3123882}"/>
              </a:ext>
            </a:extLst>
          </p:cNvPr>
          <p:cNvSpPr/>
          <p:nvPr userDrawn="1"/>
        </p:nvSpPr>
        <p:spPr>
          <a:xfrm>
            <a:off x="5124828" y="2588174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29" name="Line Callout 2 (Accent Bar) 171">
            <a:extLst>
              <a:ext uri="{FF2B5EF4-FFF2-40B4-BE49-F238E27FC236}">
                <a16:creationId xmlns:a16="http://schemas.microsoft.com/office/drawing/2014/main" id="{7BBE695D-78D7-4F38-8A90-21536862EB24}"/>
              </a:ext>
            </a:extLst>
          </p:cNvPr>
          <p:cNvSpPr/>
          <p:nvPr userDrawn="1"/>
        </p:nvSpPr>
        <p:spPr>
          <a:xfrm>
            <a:off x="3958005" y="2947470"/>
            <a:ext cx="969263" cy="59769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7295"/>
              <a:gd name="adj6" fmla="val -28701"/>
            </a:avLst>
          </a:prstGeom>
          <a:solidFill>
            <a:srgbClr val="EDEDE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Excepteur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si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occaec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cupidat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non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proident</a:t>
            </a:r>
            <a:endParaRPr lang="en-US" sz="800" b="1" dirty="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30" name="Line Callout 2 (Accent Bar) 172">
            <a:extLst>
              <a:ext uri="{FF2B5EF4-FFF2-40B4-BE49-F238E27FC236}">
                <a16:creationId xmlns:a16="http://schemas.microsoft.com/office/drawing/2014/main" id="{9892482D-73E4-4C19-898B-658A5DAE684F}"/>
              </a:ext>
            </a:extLst>
          </p:cNvPr>
          <p:cNvSpPr/>
          <p:nvPr userDrawn="1"/>
        </p:nvSpPr>
        <p:spPr>
          <a:xfrm>
            <a:off x="5481045" y="2944751"/>
            <a:ext cx="969263" cy="59769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50088"/>
              <a:gd name="adj6" fmla="val -31789"/>
            </a:avLst>
          </a:prstGeom>
          <a:solidFill>
            <a:srgbClr val="EDEDE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Excepteur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si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occaec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cupidat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non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proident</a:t>
            </a:r>
            <a:endParaRPr lang="en-US" sz="800" b="1" dirty="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57BDE2D9-D892-4E5B-B8C7-08E4C3A6A8EF}"/>
              </a:ext>
            </a:extLst>
          </p:cNvPr>
          <p:cNvSpPr/>
          <p:nvPr userDrawn="1"/>
        </p:nvSpPr>
        <p:spPr>
          <a:xfrm>
            <a:off x="3101408" y="2601179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32" name="Line Callout 2 (Accent Bar) 174">
            <a:extLst>
              <a:ext uri="{FF2B5EF4-FFF2-40B4-BE49-F238E27FC236}">
                <a16:creationId xmlns:a16="http://schemas.microsoft.com/office/drawing/2014/main" id="{752C9A54-804D-4195-8AD1-9F7297A532C2}"/>
              </a:ext>
            </a:extLst>
          </p:cNvPr>
          <p:cNvSpPr/>
          <p:nvPr userDrawn="1"/>
        </p:nvSpPr>
        <p:spPr>
          <a:xfrm flipH="1">
            <a:off x="1950721" y="2873296"/>
            <a:ext cx="969263" cy="59769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8405"/>
              <a:gd name="adj6" fmla="val -22526"/>
            </a:avLst>
          </a:prstGeom>
          <a:solidFill>
            <a:srgbClr val="EDEDE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Excepteur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si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occaec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cupidat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non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proide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, sunt in culpa qui .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80425E42-3503-3C46-8DEB-C1E30EA93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4167050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e Graph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>
            <a:extLst>
              <a:ext uri="{FF2B5EF4-FFF2-40B4-BE49-F238E27FC236}">
                <a16:creationId xmlns:a16="http://schemas.microsoft.com/office/drawing/2014/main" id="{C370BDBC-B7B2-41A1-8FD8-3A1F8A8CE341}"/>
              </a:ext>
            </a:extLst>
          </p:cNvPr>
          <p:cNvSpPr/>
          <p:nvPr userDrawn="1"/>
        </p:nvSpPr>
        <p:spPr>
          <a:xfrm>
            <a:off x="1879832" y="2027096"/>
            <a:ext cx="8298180" cy="1740079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A221C05-4B09-426C-AB09-C79798282317}"/>
              </a:ext>
            </a:extLst>
          </p:cNvPr>
          <p:cNvSpPr/>
          <p:nvPr userDrawn="1"/>
        </p:nvSpPr>
        <p:spPr>
          <a:xfrm>
            <a:off x="1879832" y="3735106"/>
            <a:ext cx="8298180" cy="685800"/>
          </a:xfrm>
          <a:prstGeom prst="rect">
            <a:avLst/>
          </a:prstGeom>
          <a:solidFill>
            <a:srgbClr val="EAF6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xxx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C8134C8-402D-4D9B-A392-66ADDA7E7314}"/>
              </a:ext>
            </a:extLst>
          </p:cNvPr>
          <p:cNvSpPr/>
          <p:nvPr userDrawn="1"/>
        </p:nvSpPr>
        <p:spPr>
          <a:xfrm>
            <a:off x="2306001" y="2479334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2A8D20A-EE65-40C9-AE19-2C7DEA7663D1}"/>
              </a:ext>
            </a:extLst>
          </p:cNvPr>
          <p:cNvSpPr/>
          <p:nvPr userDrawn="1"/>
        </p:nvSpPr>
        <p:spPr>
          <a:xfrm>
            <a:off x="3335593" y="2479334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A7895DD-EEC4-496C-94C6-00C70F1CC5E9}"/>
              </a:ext>
            </a:extLst>
          </p:cNvPr>
          <p:cNvSpPr/>
          <p:nvPr userDrawn="1"/>
        </p:nvSpPr>
        <p:spPr>
          <a:xfrm>
            <a:off x="4376693" y="2479361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50EA54D-E3A8-402A-BBFB-780B362A4FEE}"/>
              </a:ext>
            </a:extLst>
          </p:cNvPr>
          <p:cNvSpPr/>
          <p:nvPr userDrawn="1"/>
        </p:nvSpPr>
        <p:spPr>
          <a:xfrm>
            <a:off x="5368374" y="2471193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266E30E-0343-412B-97BF-FEEBC610CF03}"/>
              </a:ext>
            </a:extLst>
          </p:cNvPr>
          <p:cNvSpPr/>
          <p:nvPr userDrawn="1"/>
        </p:nvSpPr>
        <p:spPr>
          <a:xfrm>
            <a:off x="7443469" y="2473623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63C53DAF-B850-4A70-AD08-ED81B1D2E0E2}"/>
              </a:ext>
            </a:extLst>
          </p:cNvPr>
          <p:cNvSpPr/>
          <p:nvPr userDrawn="1"/>
        </p:nvSpPr>
        <p:spPr>
          <a:xfrm>
            <a:off x="8452341" y="2479334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6F2EE01B-F364-4AFC-9B2E-B68B95D18137}"/>
              </a:ext>
            </a:extLst>
          </p:cNvPr>
          <p:cNvCxnSpPr>
            <a:cxnSpLocks/>
          </p:cNvCxnSpPr>
          <p:nvPr userDrawn="1"/>
        </p:nvCxnSpPr>
        <p:spPr>
          <a:xfrm>
            <a:off x="5052570" y="2639314"/>
            <a:ext cx="312986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C2515E5A-322E-41FB-A9EF-1D3E527CB9A1}"/>
              </a:ext>
            </a:extLst>
          </p:cNvPr>
          <p:cNvCxnSpPr>
            <a:cxnSpLocks/>
          </p:cNvCxnSpPr>
          <p:nvPr userDrawn="1"/>
        </p:nvCxnSpPr>
        <p:spPr>
          <a:xfrm>
            <a:off x="6064355" y="2639096"/>
            <a:ext cx="350414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3CF1F3BA-9F9B-4C0C-B675-B905F7C32F9C}"/>
              </a:ext>
            </a:extLst>
          </p:cNvPr>
          <p:cNvCxnSpPr>
            <a:cxnSpLocks/>
          </p:cNvCxnSpPr>
          <p:nvPr userDrawn="1"/>
        </p:nvCxnSpPr>
        <p:spPr>
          <a:xfrm>
            <a:off x="8126936" y="2631982"/>
            <a:ext cx="327739" cy="243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AAFCD961-AA49-4A00-B74F-100F24E27756}"/>
              </a:ext>
            </a:extLst>
          </p:cNvPr>
          <p:cNvSpPr/>
          <p:nvPr userDrawn="1"/>
        </p:nvSpPr>
        <p:spPr>
          <a:xfrm>
            <a:off x="4058571" y="2679307"/>
            <a:ext cx="164807" cy="98122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600" b="1">
              <a:solidFill>
                <a:schemeClr val="tx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AE1FA80-3E4F-4866-97A4-4BA1A8CF8894}"/>
              </a:ext>
            </a:extLst>
          </p:cNvPr>
          <p:cNvSpPr/>
          <p:nvPr userDrawn="1"/>
        </p:nvSpPr>
        <p:spPr>
          <a:xfrm>
            <a:off x="5065570" y="2679307"/>
            <a:ext cx="164807" cy="98122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600" b="1">
              <a:solidFill>
                <a:schemeClr val="tx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967FA3C-414B-40C6-AC93-6DAD3115E3DC}"/>
              </a:ext>
            </a:extLst>
          </p:cNvPr>
          <p:cNvGrpSpPr/>
          <p:nvPr userDrawn="1"/>
        </p:nvGrpSpPr>
        <p:grpSpPr>
          <a:xfrm>
            <a:off x="2446580" y="3855081"/>
            <a:ext cx="2303323" cy="472191"/>
            <a:chOff x="1291223" y="3401074"/>
            <a:chExt cx="3071097" cy="629588"/>
          </a:xfrm>
          <a:solidFill>
            <a:srgbClr val="EAF6FE"/>
          </a:solidFill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652B898-A156-4916-AA0C-F1D069F93766}"/>
                </a:ext>
              </a:extLst>
            </p:cNvPr>
            <p:cNvSpPr/>
            <p:nvPr/>
          </p:nvSpPr>
          <p:spPr>
            <a:xfrm>
              <a:off x="4142577" y="3401074"/>
              <a:ext cx="219743" cy="130829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6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67BC35F-19D1-4AB0-B972-A26E7346A790}"/>
                </a:ext>
              </a:extLst>
            </p:cNvPr>
            <p:cNvSpPr/>
            <p:nvPr/>
          </p:nvSpPr>
          <p:spPr>
            <a:xfrm>
              <a:off x="1291223" y="3660009"/>
              <a:ext cx="625020" cy="37065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>
                  <a:solidFill>
                    <a:schemeClr val="tx1"/>
                  </a:solidFill>
                  <a:latin typeface="Helvetica" pitchFamily="34" charset="0"/>
                  <a:cs typeface="Helvetica" pitchFamily="34" charset="0"/>
                </a:rPr>
                <a:t>48%</a:t>
              </a: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775A5387-84AD-4853-88CC-90383A3DD0A3}"/>
              </a:ext>
            </a:extLst>
          </p:cNvPr>
          <p:cNvSpPr/>
          <p:nvPr userDrawn="1"/>
        </p:nvSpPr>
        <p:spPr>
          <a:xfrm>
            <a:off x="1879832" y="4390062"/>
            <a:ext cx="8295589" cy="1124982"/>
          </a:xfrm>
          <a:prstGeom prst="rect">
            <a:avLst/>
          </a:prstGeom>
          <a:solidFill>
            <a:srgbClr val="003C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2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TIM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A4FDFDD-8BF1-4FD8-A1E1-FE1C0964D713}"/>
              </a:ext>
            </a:extLst>
          </p:cNvPr>
          <p:cNvSpPr/>
          <p:nvPr userDrawn="1"/>
        </p:nvSpPr>
        <p:spPr>
          <a:xfrm>
            <a:off x="7986773" y="3346400"/>
            <a:ext cx="1074293" cy="32987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Σ</a:t>
            </a:r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 = </a:t>
            </a:r>
            <a:r>
              <a:rPr lang="en-US" sz="9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ABC3ED2-A516-4A2D-9B27-B07244D8A27E}"/>
              </a:ext>
            </a:extLst>
          </p:cNvPr>
          <p:cNvSpPr/>
          <p:nvPr userDrawn="1"/>
        </p:nvSpPr>
        <p:spPr>
          <a:xfrm>
            <a:off x="7955092" y="4007057"/>
            <a:ext cx="1163593" cy="32987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Σ</a:t>
            </a:r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 = </a:t>
            </a:r>
            <a:r>
              <a:rPr lang="en-US" sz="900" b="1" dirty="0">
                <a:solidFill>
                  <a:srgbClr val="009EEB"/>
                </a:solidFill>
                <a:latin typeface="Helvetica" pitchFamily="34" charset="0"/>
                <a:cs typeface="Helvetica" pitchFamily="34" charset="0"/>
              </a:rPr>
              <a:t>98%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912D08C-39E9-45EA-B41D-DCF7E5735168}"/>
              </a:ext>
            </a:extLst>
          </p:cNvPr>
          <p:cNvGrpSpPr/>
          <p:nvPr userDrawn="1"/>
        </p:nvGrpSpPr>
        <p:grpSpPr>
          <a:xfrm>
            <a:off x="2638015" y="4748531"/>
            <a:ext cx="5998268" cy="327327"/>
            <a:chOff x="1589020" y="5367634"/>
            <a:chExt cx="7997690" cy="328330"/>
          </a:xfrm>
        </p:grpSpPr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2926673-F5E6-4B1E-8331-A7A8EC3CFAA4}"/>
                </a:ext>
              </a:extLst>
            </p:cNvPr>
            <p:cNvCxnSpPr/>
            <p:nvPr/>
          </p:nvCxnSpPr>
          <p:spPr>
            <a:xfrm>
              <a:off x="1589020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AB77778D-0C64-4BB1-A3CB-3F72BAF2DF85}"/>
                </a:ext>
              </a:extLst>
            </p:cNvPr>
            <p:cNvCxnSpPr/>
            <p:nvPr/>
          </p:nvCxnSpPr>
          <p:spPr>
            <a:xfrm>
              <a:off x="2922215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9ABFC8C-25F9-4520-BA1F-96144496A7C6}"/>
                </a:ext>
              </a:extLst>
            </p:cNvPr>
            <p:cNvCxnSpPr/>
            <p:nvPr/>
          </p:nvCxnSpPr>
          <p:spPr>
            <a:xfrm>
              <a:off x="4255410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4761EA7-BA91-4025-863E-ED7FA076EE2C}"/>
                </a:ext>
              </a:extLst>
            </p:cNvPr>
            <p:cNvCxnSpPr/>
            <p:nvPr/>
          </p:nvCxnSpPr>
          <p:spPr>
            <a:xfrm>
              <a:off x="5588605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AABEEC2-96C7-4062-A8D4-591B0EE47A86}"/>
                </a:ext>
              </a:extLst>
            </p:cNvPr>
            <p:cNvCxnSpPr/>
            <p:nvPr/>
          </p:nvCxnSpPr>
          <p:spPr>
            <a:xfrm>
              <a:off x="6921800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98CC918B-2FFE-4263-9678-2F01CD995554}"/>
                </a:ext>
              </a:extLst>
            </p:cNvPr>
            <p:cNvCxnSpPr/>
            <p:nvPr/>
          </p:nvCxnSpPr>
          <p:spPr>
            <a:xfrm>
              <a:off x="8254996" y="5506559"/>
              <a:ext cx="1331714" cy="0"/>
            </a:xfrm>
            <a:prstGeom prst="line">
              <a:avLst/>
            </a:prstGeom>
            <a:ln>
              <a:solidFill>
                <a:schemeClr val="bg1"/>
              </a:solidFill>
              <a:headEnd type="oval" w="med" len="med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6A895F7F-44DA-46EC-94BF-1A29706B9A69}"/>
                </a:ext>
              </a:extLst>
            </p:cNvPr>
            <p:cNvSpPr/>
            <p:nvPr/>
          </p:nvSpPr>
          <p:spPr>
            <a:xfrm>
              <a:off x="2037432" y="5367634"/>
              <a:ext cx="376584" cy="277848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2 days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3C32B220-F685-46E9-AFFB-45E048026676}"/>
                </a:ext>
              </a:extLst>
            </p:cNvPr>
            <p:cNvSpPr/>
            <p:nvPr/>
          </p:nvSpPr>
          <p:spPr>
            <a:xfrm>
              <a:off x="3454440" y="5374074"/>
              <a:ext cx="365869" cy="277848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1 day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63FD0077-6EB4-471F-86AC-66DC2669621C}"/>
                </a:ext>
              </a:extLst>
            </p:cNvPr>
            <p:cNvSpPr/>
            <p:nvPr/>
          </p:nvSpPr>
          <p:spPr>
            <a:xfrm>
              <a:off x="4706164" y="5441144"/>
              <a:ext cx="373836" cy="130829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3 days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354AE6D7-074D-4E22-B29A-668890CC37F8}"/>
                </a:ext>
              </a:extLst>
            </p:cNvPr>
            <p:cNvSpPr/>
            <p:nvPr/>
          </p:nvSpPr>
          <p:spPr>
            <a:xfrm>
              <a:off x="6067679" y="5441144"/>
              <a:ext cx="363096" cy="130829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0 days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1C08B627-6928-448E-9B75-308CCF8C76A0}"/>
                </a:ext>
              </a:extLst>
            </p:cNvPr>
            <p:cNvSpPr/>
            <p:nvPr/>
          </p:nvSpPr>
          <p:spPr>
            <a:xfrm>
              <a:off x="8678455" y="5374072"/>
              <a:ext cx="535944" cy="321892"/>
            </a:xfrm>
            <a:prstGeom prst="rect">
              <a:avLst/>
            </a:prstGeom>
            <a:solidFill>
              <a:srgbClr val="003C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7 to 12 days</a:t>
              </a:r>
            </a:p>
          </p:txBody>
        </p: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477650E-4F26-48C3-9A6E-14FC3BEFD72A}"/>
              </a:ext>
            </a:extLst>
          </p:cNvPr>
          <p:cNvSpPr/>
          <p:nvPr userDrawn="1"/>
        </p:nvSpPr>
        <p:spPr>
          <a:xfrm>
            <a:off x="8927122" y="4739440"/>
            <a:ext cx="1163593" cy="32987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9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Σ</a:t>
            </a:r>
            <a:r>
              <a:rPr lang="en-US" sz="9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 = 15 - 20  days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94816946-1A3C-4C29-8F00-B80DB8DC40D7}"/>
              </a:ext>
            </a:extLst>
          </p:cNvPr>
          <p:cNvCxnSpPr>
            <a:cxnSpLocks/>
          </p:cNvCxnSpPr>
          <p:nvPr userDrawn="1"/>
        </p:nvCxnSpPr>
        <p:spPr>
          <a:xfrm>
            <a:off x="4720663" y="2822260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2844F16-733F-4ED9-AE9E-2A83B24E8717}"/>
              </a:ext>
            </a:extLst>
          </p:cNvPr>
          <p:cNvSpPr/>
          <p:nvPr userDrawn="1"/>
        </p:nvSpPr>
        <p:spPr>
          <a:xfrm>
            <a:off x="6414769" y="2469710"/>
            <a:ext cx="685800" cy="3429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xx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BCDBB86D-5520-4322-985F-A216F88A913E}"/>
              </a:ext>
            </a:extLst>
          </p:cNvPr>
          <p:cNvCxnSpPr>
            <a:cxnSpLocks/>
          </p:cNvCxnSpPr>
          <p:nvPr userDrawn="1"/>
        </p:nvCxnSpPr>
        <p:spPr>
          <a:xfrm>
            <a:off x="7759028" y="2816523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FD0998D1-87D0-427A-83CA-F440FF1C7F6E}"/>
              </a:ext>
            </a:extLst>
          </p:cNvPr>
          <p:cNvCxnSpPr>
            <a:cxnSpLocks/>
          </p:cNvCxnSpPr>
          <p:nvPr userDrawn="1"/>
        </p:nvCxnSpPr>
        <p:spPr>
          <a:xfrm>
            <a:off x="7100568" y="2645073"/>
            <a:ext cx="350414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44F073AB-1DE7-42B6-B574-0C10348CF9DF}"/>
              </a:ext>
            </a:extLst>
          </p:cNvPr>
          <p:cNvCxnSpPr>
            <a:cxnSpLocks/>
          </p:cNvCxnSpPr>
          <p:nvPr userDrawn="1"/>
        </p:nvCxnSpPr>
        <p:spPr>
          <a:xfrm>
            <a:off x="2981618" y="2635418"/>
            <a:ext cx="350899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46611232-C580-419A-B7D5-D7F4E65224A5}"/>
              </a:ext>
            </a:extLst>
          </p:cNvPr>
          <p:cNvCxnSpPr>
            <a:cxnSpLocks/>
          </p:cNvCxnSpPr>
          <p:nvPr userDrawn="1"/>
        </p:nvCxnSpPr>
        <p:spPr>
          <a:xfrm>
            <a:off x="2669928" y="2822234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DFAE00C3-6163-475F-8611-4F38E01EAA89}"/>
              </a:ext>
            </a:extLst>
          </p:cNvPr>
          <p:cNvCxnSpPr>
            <a:cxnSpLocks/>
          </p:cNvCxnSpPr>
          <p:nvPr userDrawn="1"/>
        </p:nvCxnSpPr>
        <p:spPr>
          <a:xfrm>
            <a:off x="6757669" y="2812609"/>
            <a:ext cx="0" cy="1316768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8" name="Rectangle 137">
            <a:extLst>
              <a:ext uri="{FF2B5EF4-FFF2-40B4-BE49-F238E27FC236}">
                <a16:creationId xmlns:a16="http://schemas.microsoft.com/office/drawing/2014/main" id="{5B48F2ED-EF78-4ADA-9D5C-D53A7497B770}"/>
              </a:ext>
            </a:extLst>
          </p:cNvPr>
          <p:cNvSpPr/>
          <p:nvPr userDrawn="1"/>
        </p:nvSpPr>
        <p:spPr>
          <a:xfrm>
            <a:off x="7027568" y="4838742"/>
            <a:ext cx="290181" cy="109410"/>
          </a:xfrm>
          <a:prstGeom prst="rect">
            <a:avLst/>
          </a:prstGeom>
          <a:solidFill>
            <a:srgbClr val="003C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2 days</a:t>
            </a:r>
          </a:p>
        </p:txBody>
      </p:sp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549C8B76-C7E2-4230-8627-3D69C2429D9D}"/>
              </a:ext>
            </a:extLst>
          </p:cNvPr>
          <p:cNvCxnSpPr>
            <a:cxnSpLocks/>
          </p:cNvCxnSpPr>
          <p:nvPr userDrawn="1"/>
        </p:nvCxnSpPr>
        <p:spPr>
          <a:xfrm>
            <a:off x="3659017" y="2811663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0" name="Rectangle 139">
            <a:extLst>
              <a:ext uri="{FF2B5EF4-FFF2-40B4-BE49-F238E27FC236}">
                <a16:creationId xmlns:a16="http://schemas.microsoft.com/office/drawing/2014/main" id="{782ED17D-5DA3-4FB6-9B0A-4ACAC85F5EDA}"/>
              </a:ext>
            </a:extLst>
          </p:cNvPr>
          <p:cNvSpPr/>
          <p:nvPr userDrawn="1"/>
        </p:nvSpPr>
        <p:spPr>
          <a:xfrm>
            <a:off x="3440808" y="4053145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46%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333BEB0-091C-4681-B47D-7E8BCD25C7F6}"/>
              </a:ext>
            </a:extLst>
          </p:cNvPr>
          <p:cNvSpPr/>
          <p:nvPr userDrawn="1"/>
        </p:nvSpPr>
        <p:spPr>
          <a:xfrm>
            <a:off x="4476988" y="4074279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1%</a:t>
            </a:r>
          </a:p>
        </p:txBody>
      </p:sp>
      <p:cxnSp>
        <p:nvCxnSpPr>
          <p:cNvPr id="142" name="Straight Arrow Connector 141">
            <a:extLst>
              <a:ext uri="{FF2B5EF4-FFF2-40B4-BE49-F238E27FC236}">
                <a16:creationId xmlns:a16="http://schemas.microsoft.com/office/drawing/2014/main" id="{651AFF02-0673-469C-A9A7-F81E8465A472}"/>
              </a:ext>
            </a:extLst>
          </p:cNvPr>
          <p:cNvCxnSpPr>
            <a:cxnSpLocks/>
          </p:cNvCxnSpPr>
          <p:nvPr userDrawn="1"/>
        </p:nvCxnSpPr>
        <p:spPr>
          <a:xfrm>
            <a:off x="5711274" y="2822260"/>
            <a:ext cx="0" cy="1307117"/>
          </a:xfrm>
          <a:prstGeom prst="straightConnector1">
            <a:avLst/>
          </a:prstGeom>
          <a:ln>
            <a:tailEnd type="stealth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Rectangle 142">
            <a:extLst>
              <a:ext uri="{FF2B5EF4-FFF2-40B4-BE49-F238E27FC236}">
                <a16:creationId xmlns:a16="http://schemas.microsoft.com/office/drawing/2014/main" id="{5E549E55-492F-46C2-945A-F89C52D75169}"/>
              </a:ext>
            </a:extLst>
          </p:cNvPr>
          <p:cNvSpPr/>
          <p:nvPr userDrawn="1"/>
        </p:nvSpPr>
        <p:spPr>
          <a:xfrm>
            <a:off x="5485437" y="4079464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3CF6BE84-FFCC-4954-B3AA-82CF99E30146}"/>
              </a:ext>
            </a:extLst>
          </p:cNvPr>
          <p:cNvSpPr/>
          <p:nvPr userDrawn="1"/>
        </p:nvSpPr>
        <p:spPr>
          <a:xfrm>
            <a:off x="6523286" y="4058946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&lt;1%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AA9E06E7-B455-49C5-B849-434F57BEB3B8}"/>
              </a:ext>
            </a:extLst>
          </p:cNvPr>
          <p:cNvSpPr/>
          <p:nvPr userDrawn="1"/>
        </p:nvSpPr>
        <p:spPr>
          <a:xfrm>
            <a:off x="7541674" y="4058946"/>
            <a:ext cx="468765" cy="2779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0%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F2A4482-9E0C-45F2-9F56-FA8DD1BEA8FD}"/>
              </a:ext>
            </a:extLst>
          </p:cNvPr>
          <p:cNvSpPr/>
          <p:nvPr userDrawn="1"/>
        </p:nvSpPr>
        <p:spPr>
          <a:xfrm>
            <a:off x="2925919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52%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520DD2E2-8ED7-462A-9B32-47FF108D9193}"/>
              </a:ext>
            </a:extLst>
          </p:cNvPr>
          <p:cNvSpPr/>
          <p:nvPr userDrawn="1"/>
        </p:nvSpPr>
        <p:spPr>
          <a:xfrm>
            <a:off x="3968719" y="2362157"/>
            <a:ext cx="412208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6%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EDDB275-D17A-47EE-AF8D-3A51AA64645A}"/>
              </a:ext>
            </a:extLst>
          </p:cNvPr>
          <p:cNvSpPr/>
          <p:nvPr userDrawn="1"/>
        </p:nvSpPr>
        <p:spPr>
          <a:xfrm>
            <a:off x="4980627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5%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897F635-E142-4F63-9542-8A1288BF805D}"/>
              </a:ext>
            </a:extLst>
          </p:cNvPr>
          <p:cNvSpPr/>
          <p:nvPr userDrawn="1"/>
        </p:nvSpPr>
        <p:spPr>
          <a:xfrm>
            <a:off x="5992561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3%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2D2EE1F1-252E-43AE-84D2-CD0FB41AF960}"/>
              </a:ext>
            </a:extLst>
          </p:cNvPr>
          <p:cNvSpPr/>
          <p:nvPr userDrawn="1"/>
        </p:nvSpPr>
        <p:spPr>
          <a:xfrm>
            <a:off x="7032373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2A7F694-9097-4B52-9AD8-B3FC7075DACA}"/>
              </a:ext>
            </a:extLst>
          </p:cNvPr>
          <p:cNvSpPr/>
          <p:nvPr userDrawn="1"/>
        </p:nvSpPr>
        <p:spPr>
          <a:xfrm>
            <a:off x="8050084" y="2362157"/>
            <a:ext cx="486804" cy="144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Helvetica" pitchFamily="34" charset="0"/>
                <a:cs typeface="Helvetica" pitchFamily="34" charset="0"/>
              </a:rPr>
              <a:t>2%</a:t>
            </a:r>
          </a:p>
        </p:txBody>
      </p:sp>
      <p:cxnSp>
        <p:nvCxnSpPr>
          <p:cNvPr id="152" name="Straight Arrow Connector 151">
            <a:extLst>
              <a:ext uri="{FF2B5EF4-FFF2-40B4-BE49-F238E27FC236}">
                <a16:creationId xmlns:a16="http://schemas.microsoft.com/office/drawing/2014/main" id="{99296343-6F8B-4E43-A410-79C369A70FF2}"/>
              </a:ext>
            </a:extLst>
          </p:cNvPr>
          <p:cNvCxnSpPr>
            <a:cxnSpLocks/>
          </p:cNvCxnSpPr>
          <p:nvPr userDrawn="1"/>
        </p:nvCxnSpPr>
        <p:spPr>
          <a:xfrm>
            <a:off x="4021393" y="2624154"/>
            <a:ext cx="350414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BCE4DEA1-1B54-4104-AEF6-B617DAFCF9E7}"/>
              </a:ext>
            </a:extLst>
          </p:cNvPr>
          <p:cNvSpPr/>
          <p:nvPr userDrawn="1"/>
        </p:nvSpPr>
        <p:spPr>
          <a:xfrm>
            <a:off x="3617549" y="3315663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8B18F57-ABB2-43E3-8CB1-94B9EE262B66}"/>
              </a:ext>
            </a:extLst>
          </p:cNvPr>
          <p:cNvSpPr/>
          <p:nvPr userDrawn="1"/>
        </p:nvSpPr>
        <p:spPr>
          <a:xfrm>
            <a:off x="5124828" y="2588174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5" name="Line Callout 2 (Accent Bar) 171">
            <a:extLst>
              <a:ext uri="{FF2B5EF4-FFF2-40B4-BE49-F238E27FC236}">
                <a16:creationId xmlns:a16="http://schemas.microsoft.com/office/drawing/2014/main" id="{468CDBDC-9462-4D2E-BD2C-25ABC5461F94}"/>
              </a:ext>
            </a:extLst>
          </p:cNvPr>
          <p:cNvSpPr/>
          <p:nvPr userDrawn="1"/>
        </p:nvSpPr>
        <p:spPr>
          <a:xfrm>
            <a:off x="3958005" y="2947470"/>
            <a:ext cx="969263" cy="59769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7295"/>
              <a:gd name="adj6" fmla="val -28701"/>
            </a:avLst>
          </a:prstGeom>
          <a:solidFill>
            <a:srgbClr val="EDEDE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Excepteur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si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occaec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cupidat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non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proident</a:t>
            </a:r>
            <a:endParaRPr lang="en-US" sz="800" b="1" dirty="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6" name="Line Callout 2 (Accent Bar) 172">
            <a:extLst>
              <a:ext uri="{FF2B5EF4-FFF2-40B4-BE49-F238E27FC236}">
                <a16:creationId xmlns:a16="http://schemas.microsoft.com/office/drawing/2014/main" id="{D186AE5E-B9D2-40AF-8E33-B94549202413}"/>
              </a:ext>
            </a:extLst>
          </p:cNvPr>
          <p:cNvSpPr/>
          <p:nvPr userDrawn="1"/>
        </p:nvSpPr>
        <p:spPr>
          <a:xfrm>
            <a:off x="5481045" y="2944751"/>
            <a:ext cx="969263" cy="59769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50088"/>
              <a:gd name="adj6" fmla="val -31789"/>
            </a:avLst>
          </a:prstGeom>
          <a:solidFill>
            <a:srgbClr val="EDEDE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Excepteur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si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occaec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cupidat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non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proident</a:t>
            </a:r>
            <a:endParaRPr lang="en-US" sz="800" b="1" dirty="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267538AB-1C3B-41D5-9D4F-FC9FB85122CA}"/>
              </a:ext>
            </a:extLst>
          </p:cNvPr>
          <p:cNvSpPr/>
          <p:nvPr userDrawn="1"/>
        </p:nvSpPr>
        <p:spPr>
          <a:xfrm>
            <a:off x="3101408" y="2601179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EF Circular Book" panose="020B0604020101020102" pitchFamily="34" charset="77"/>
              <a:cs typeface="EF Circular Book" panose="020B0604020101020102" pitchFamily="34" charset="77"/>
            </a:endParaRPr>
          </a:p>
        </p:txBody>
      </p:sp>
      <p:sp>
        <p:nvSpPr>
          <p:cNvPr id="158" name="Line Callout 2 (Accent Bar) 174">
            <a:extLst>
              <a:ext uri="{FF2B5EF4-FFF2-40B4-BE49-F238E27FC236}">
                <a16:creationId xmlns:a16="http://schemas.microsoft.com/office/drawing/2014/main" id="{9B3D108D-EADE-4A63-B0FF-98354B179E22}"/>
              </a:ext>
            </a:extLst>
          </p:cNvPr>
          <p:cNvSpPr/>
          <p:nvPr userDrawn="1"/>
        </p:nvSpPr>
        <p:spPr>
          <a:xfrm flipH="1">
            <a:off x="1950721" y="2873296"/>
            <a:ext cx="969263" cy="59769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8405"/>
              <a:gd name="adj6" fmla="val -22526"/>
            </a:avLst>
          </a:prstGeom>
          <a:solidFill>
            <a:srgbClr val="EDEDE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Excepteur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si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occaec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cupidata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 non </a:t>
            </a:r>
            <a:r>
              <a:rPr lang="en-US" sz="800" b="1" dirty="0" err="1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proident</a:t>
            </a:r>
            <a:r>
              <a:rPr lang="en-US" sz="800" b="1" dirty="0">
                <a:solidFill>
                  <a:schemeClr val="tx1"/>
                </a:solidFill>
                <a:latin typeface="EF Circular Book" panose="020B0604020101020102" pitchFamily="34" charset="77"/>
                <a:cs typeface="EF Circular Book" panose="020B0604020101020102" pitchFamily="34" charset="77"/>
              </a:rPr>
              <a:t>, sunt in culpa qui .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D02FB595-14DB-554C-8FB6-073F86DAA4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Graph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6068296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e Grap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extLst>
              <a:ext uri="{FF2B5EF4-FFF2-40B4-BE49-F238E27FC236}">
                <a16:creationId xmlns:a16="http://schemas.microsoft.com/office/drawing/2014/main" id="{091FB75D-33D9-4269-99E4-D5630E56BC1E}"/>
              </a:ext>
            </a:extLst>
          </p:cNvPr>
          <p:cNvSpPr/>
          <p:nvPr userDrawn="1"/>
        </p:nvSpPr>
        <p:spPr>
          <a:xfrm>
            <a:off x="1992313" y="1794674"/>
            <a:ext cx="4030662" cy="631818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1E0FA9B-238D-437C-AAA7-6DA8EC405C64}"/>
              </a:ext>
            </a:extLst>
          </p:cNvPr>
          <p:cNvSpPr/>
          <p:nvPr userDrawn="1"/>
        </p:nvSpPr>
        <p:spPr>
          <a:xfrm>
            <a:off x="1992313" y="2426491"/>
            <a:ext cx="4030662" cy="3436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 dirty="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51652122-98C6-482C-BF7A-5FE246B7198E}"/>
              </a:ext>
            </a:extLst>
          </p:cNvPr>
          <p:cNvSpPr/>
          <p:nvPr userDrawn="1"/>
        </p:nvSpPr>
        <p:spPr>
          <a:xfrm>
            <a:off x="6169025" y="1794674"/>
            <a:ext cx="4030662" cy="631818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DB2972CB-B784-4EA8-B47F-6A2408F41369}"/>
              </a:ext>
            </a:extLst>
          </p:cNvPr>
          <p:cNvSpPr/>
          <p:nvPr userDrawn="1"/>
        </p:nvSpPr>
        <p:spPr>
          <a:xfrm>
            <a:off x="6169025" y="2426491"/>
            <a:ext cx="4030662" cy="3436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 dirty="0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777FBC-C042-744F-A7BA-FB9A0149DC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Comparison</a:t>
            </a:r>
            <a:endParaRPr lang="en-CH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FC4CD1A-DBF8-0B43-A188-A835A56844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7467" y="2725175"/>
            <a:ext cx="2568057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 </a:t>
            </a:r>
            <a:r>
              <a:rPr lang="en-US" dirty="0" err="1"/>
              <a:t>faccupta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dolor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turestis</a:t>
            </a:r>
            <a:r>
              <a:rPr lang="en-US" dirty="0"/>
              <a:t> </a:t>
            </a:r>
            <a:r>
              <a:rPr lang="en-US" dirty="0" err="1"/>
              <a:t>dolum</a:t>
            </a:r>
            <a:r>
              <a:rPr lang="en-US" dirty="0"/>
              <a:t> </a:t>
            </a:r>
            <a:r>
              <a:rPr lang="en-US" dirty="0" err="1"/>
              <a:t>faccume</a:t>
            </a:r>
            <a:r>
              <a:rPr lang="en-US" dirty="0"/>
              <a:t> </a:t>
            </a:r>
            <a:r>
              <a:rPr lang="en-US" dirty="0" err="1"/>
              <a:t>voluptur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que ra </a:t>
            </a:r>
            <a:r>
              <a:rPr lang="en-US" dirty="0" err="1"/>
              <a:t>dipsam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Coreperume</a:t>
            </a:r>
            <a:r>
              <a:rPr lang="en-US" dirty="0"/>
              <a:t> </a:t>
            </a:r>
            <a:r>
              <a:rPr lang="en-US" dirty="0" err="1"/>
              <a:t>etur</a:t>
            </a:r>
            <a:r>
              <a:rPr lang="en-US" dirty="0"/>
              <a:t> re </a:t>
            </a:r>
            <a:r>
              <a:rPr lang="en-US" dirty="0" err="1"/>
              <a:t>viducii</a:t>
            </a:r>
            <a:r>
              <a:rPr lang="en-US" dirty="0"/>
              <a:t> </a:t>
            </a:r>
            <a:r>
              <a:rPr lang="en-US" dirty="0" err="1"/>
              <a:t>ssitate</a:t>
            </a:r>
            <a:r>
              <a:rPr lang="en-US" dirty="0"/>
              <a:t> </a:t>
            </a:r>
            <a:r>
              <a:rPr lang="en-US" dirty="0" err="1"/>
              <a:t>dundaes</a:t>
            </a:r>
            <a:r>
              <a:rPr lang="en-US" dirty="0"/>
              <a:t> </a:t>
            </a:r>
            <a:r>
              <a:rPr lang="en-US" dirty="0" err="1"/>
              <a:t>truptasint</a:t>
            </a:r>
            <a:r>
              <a:rPr lang="en-US" dirty="0"/>
              <a:t>,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ulparupta</a:t>
            </a:r>
            <a:r>
              <a:rPr lang="en-US" dirty="0"/>
              <a:t> </a:t>
            </a:r>
            <a:r>
              <a:rPr lang="en-US" dirty="0" err="1"/>
              <a:t>sam</a:t>
            </a:r>
            <a:r>
              <a:rPr lang="en-US" dirty="0"/>
              <a:t>,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optatus</a:t>
            </a:r>
            <a:r>
              <a:rPr lang="en-US" dirty="0"/>
              <a:t> </a:t>
            </a:r>
            <a:r>
              <a:rPr lang="en-US" dirty="0" err="1"/>
              <a:t>derores</a:t>
            </a:r>
            <a:r>
              <a:rPr lang="en-US" dirty="0"/>
              <a:t> </a:t>
            </a:r>
            <a:r>
              <a:rPr lang="en-US" dirty="0" err="1"/>
              <a:t>tibus</a:t>
            </a:r>
            <a:r>
              <a:rPr lang="en-US" dirty="0"/>
              <a:t>.</a:t>
            </a:r>
            <a:endParaRPr lang="en-CH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40C2649F-2264-A441-B529-A233C1D8E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7092" y="2717783"/>
            <a:ext cx="2568057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 </a:t>
            </a:r>
            <a:r>
              <a:rPr lang="en-US" dirty="0" err="1"/>
              <a:t>faccupta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dolor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turestis</a:t>
            </a:r>
            <a:r>
              <a:rPr lang="en-US" dirty="0"/>
              <a:t> </a:t>
            </a:r>
            <a:r>
              <a:rPr lang="en-US" dirty="0" err="1"/>
              <a:t>dolum</a:t>
            </a:r>
            <a:r>
              <a:rPr lang="en-US" dirty="0"/>
              <a:t> </a:t>
            </a:r>
            <a:r>
              <a:rPr lang="en-US" dirty="0" err="1"/>
              <a:t>faccume</a:t>
            </a:r>
            <a:r>
              <a:rPr lang="en-US" dirty="0"/>
              <a:t> </a:t>
            </a:r>
            <a:r>
              <a:rPr lang="en-US" dirty="0" err="1"/>
              <a:t>voluptur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que ra </a:t>
            </a:r>
            <a:r>
              <a:rPr lang="en-US" dirty="0" err="1"/>
              <a:t>dipsam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Coreperume</a:t>
            </a:r>
            <a:r>
              <a:rPr lang="en-US" dirty="0"/>
              <a:t> </a:t>
            </a:r>
            <a:r>
              <a:rPr lang="en-US" dirty="0" err="1"/>
              <a:t>etur</a:t>
            </a:r>
            <a:r>
              <a:rPr lang="en-US" dirty="0"/>
              <a:t> re </a:t>
            </a:r>
            <a:r>
              <a:rPr lang="en-US" dirty="0" err="1"/>
              <a:t>viducii</a:t>
            </a:r>
            <a:r>
              <a:rPr lang="en-US" dirty="0"/>
              <a:t> </a:t>
            </a:r>
            <a:r>
              <a:rPr lang="en-US" dirty="0" err="1"/>
              <a:t>ssitate</a:t>
            </a:r>
            <a:r>
              <a:rPr lang="en-US" dirty="0"/>
              <a:t> </a:t>
            </a:r>
            <a:r>
              <a:rPr lang="en-US" dirty="0" err="1"/>
              <a:t>dundaes</a:t>
            </a:r>
            <a:r>
              <a:rPr lang="en-US" dirty="0"/>
              <a:t> </a:t>
            </a:r>
            <a:r>
              <a:rPr lang="en-US" dirty="0" err="1"/>
              <a:t>truptasint</a:t>
            </a:r>
            <a:r>
              <a:rPr lang="en-US" dirty="0"/>
              <a:t>,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ulparupta</a:t>
            </a:r>
            <a:r>
              <a:rPr lang="en-US" dirty="0"/>
              <a:t> </a:t>
            </a:r>
            <a:r>
              <a:rPr lang="en-US" dirty="0" err="1"/>
              <a:t>sam</a:t>
            </a:r>
            <a:r>
              <a:rPr lang="en-US" dirty="0"/>
              <a:t>,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optatus</a:t>
            </a:r>
            <a:r>
              <a:rPr lang="en-US" dirty="0"/>
              <a:t> </a:t>
            </a:r>
            <a:r>
              <a:rPr lang="en-US" dirty="0" err="1"/>
              <a:t>derores</a:t>
            </a:r>
            <a:r>
              <a:rPr lang="en-US" dirty="0"/>
              <a:t> </a:t>
            </a:r>
            <a:r>
              <a:rPr lang="en-US" dirty="0" err="1"/>
              <a:t>tibus</a:t>
            </a:r>
            <a:r>
              <a:rPr lang="en-US" dirty="0"/>
              <a:t>.</a:t>
            </a:r>
            <a:endParaRPr lang="en-CH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76FD7AE-CBFF-D442-B429-7E159B4F2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3111" y="1990417"/>
            <a:ext cx="1284029" cy="22220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Title A</a:t>
            </a:r>
            <a:endParaRPr lang="en-CH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5F20CFC4-1566-174B-AA37-C17EDD1AE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48380" y="1993989"/>
            <a:ext cx="1284029" cy="22220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Title A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08163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81" userDrawn="1">
          <p15:clr>
            <a:srgbClr val="FBAE40"/>
          </p15:clr>
        </p15:guide>
        <p15:guide id="2" orient="horz" pos="1752" userDrawn="1">
          <p15:clr>
            <a:srgbClr val="FBAE40"/>
          </p15:clr>
        </p15:guide>
        <p15:guide id="3" pos="4112" userDrawn="1">
          <p15:clr>
            <a:srgbClr val="FBAE40"/>
          </p15:clr>
        </p15:guide>
        <p15:guide id="4" pos="3046" userDrawn="1">
          <p15:clr>
            <a:srgbClr val="FBAE40"/>
          </p15:clr>
        </p15:guide>
        <p15:guide id="5" pos="5677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ie Grap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extLst>
              <a:ext uri="{FF2B5EF4-FFF2-40B4-BE49-F238E27FC236}">
                <a16:creationId xmlns:a16="http://schemas.microsoft.com/office/drawing/2014/main" id="{091FB75D-33D9-4269-99E4-D5630E56BC1E}"/>
              </a:ext>
            </a:extLst>
          </p:cNvPr>
          <p:cNvSpPr/>
          <p:nvPr userDrawn="1"/>
        </p:nvSpPr>
        <p:spPr>
          <a:xfrm>
            <a:off x="1992313" y="1794674"/>
            <a:ext cx="4030662" cy="631818"/>
          </a:xfrm>
          <a:prstGeom prst="rect">
            <a:avLst/>
          </a:prstGeom>
          <a:solidFill>
            <a:srgbClr val="191919">
              <a:alpha val="9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51E0FA9B-238D-437C-AAA7-6DA8EC405C64}"/>
              </a:ext>
            </a:extLst>
          </p:cNvPr>
          <p:cNvSpPr/>
          <p:nvPr userDrawn="1"/>
        </p:nvSpPr>
        <p:spPr>
          <a:xfrm>
            <a:off x="1992313" y="2426491"/>
            <a:ext cx="4030662" cy="3436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 dirty="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51652122-98C6-482C-BF7A-5FE246B7198E}"/>
              </a:ext>
            </a:extLst>
          </p:cNvPr>
          <p:cNvSpPr/>
          <p:nvPr userDrawn="1"/>
        </p:nvSpPr>
        <p:spPr>
          <a:xfrm>
            <a:off x="6169025" y="1794674"/>
            <a:ext cx="4030662" cy="631818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DB2972CB-B784-4EA8-B47F-6A2408F41369}"/>
              </a:ext>
            </a:extLst>
          </p:cNvPr>
          <p:cNvSpPr/>
          <p:nvPr userDrawn="1"/>
        </p:nvSpPr>
        <p:spPr>
          <a:xfrm>
            <a:off x="6169025" y="2426491"/>
            <a:ext cx="4030662" cy="3436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H" dirty="0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B5777FBC-C042-744F-A7BA-FB9A0149DC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4315" y="390387"/>
            <a:ext cx="1761503" cy="14549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Comparison</a:t>
            </a:r>
            <a:endParaRPr lang="en-CH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FC4CD1A-DBF8-0B43-A188-A835A56844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7467" y="2725175"/>
            <a:ext cx="2568057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 </a:t>
            </a:r>
            <a:r>
              <a:rPr lang="en-US" dirty="0" err="1"/>
              <a:t>faccupta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dolor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turestis</a:t>
            </a:r>
            <a:r>
              <a:rPr lang="en-US" dirty="0"/>
              <a:t> </a:t>
            </a:r>
            <a:r>
              <a:rPr lang="en-US" dirty="0" err="1"/>
              <a:t>dolum</a:t>
            </a:r>
            <a:r>
              <a:rPr lang="en-US" dirty="0"/>
              <a:t> </a:t>
            </a:r>
            <a:r>
              <a:rPr lang="en-US" dirty="0" err="1"/>
              <a:t>faccume</a:t>
            </a:r>
            <a:r>
              <a:rPr lang="en-US" dirty="0"/>
              <a:t> </a:t>
            </a:r>
            <a:r>
              <a:rPr lang="en-US" dirty="0" err="1"/>
              <a:t>voluptur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que ra </a:t>
            </a:r>
            <a:r>
              <a:rPr lang="en-US" dirty="0" err="1"/>
              <a:t>dipsam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Coreperume</a:t>
            </a:r>
            <a:r>
              <a:rPr lang="en-US" dirty="0"/>
              <a:t> </a:t>
            </a:r>
            <a:r>
              <a:rPr lang="en-US" dirty="0" err="1"/>
              <a:t>etur</a:t>
            </a:r>
            <a:r>
              <a:rPr lang="en-US" dirty="0"/>
              <a:t> re </a:t>
            </a:r>
            <a:r>
              <a:rPr lang="en-US" dirty="0" err="1"/>
              <a:t>viducii</a:t>
            </a:r>
            <a:r>
              <a:rPr lang="en-US" dirty="0"/>
              <a:t> </a:t>
            </a:r>
            <a:r>
              <a:rPr lang="en-US" dirty="0" err="1"/>
              <a:t>ssitate</a:t>
            </a:r>
            <a:r>
              <a:rPr lang="en-US" dirty="0"/>
              <a:t> </a:t>
            </a:r>
            <a:r>
              <a:rPr lang="en-US" dirty="0" err="1"/>
              <a:t>dundaes</a:t>
            </a:r>
            <a:r>
              <a:rPr lang="en-US" dirty="0"/>
              <a:t> </a:t>
            </a:r>
            <a:r>
              <a:rPr lang="en-US" dirty="0" err="1"/>
              <a:t>truptasint</a:t>
            </a:r>
            <a:r>
              <a:rPr lang="en-US" dirty="0"/>
              <a:t>,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ulparupta</a:t>
            </a:r>
            <a:r>
              <a:rPr lang="en-US" dirty="0"/>
              <a:t> </a:t>
            </a:r>
            <a:r>
              <a:rPr lang="en-US" dirty="0" err="1"/>
              <a:t>sam</a:t>
            </a:r>
            <a:r>
              <a:rPr lang="en-US" dirty="0"/>
              <a:t>,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optatus</a:t>
            </a:r>
            <a:r>
              <a:rPr lang="en-US" dirty="0"/>
              <a:t> </a:t>
            </a:r>
            <a:r>
              <a:rPr lang="en-US" dirty="0" err="1"/>
              <a:t>derores</a:t>
            </a:r>
            <a:r>
              <a:rPr lang="en-US" dirty="0"/>
              <a:t> </a:t>
            </a:r>
            <a:r>
              <a:rPr lang="en-US" dirty="0" err="1"/>
              <a:t>tibus</a:t>
            </a:r>
            <a:r>
              <a:rPr lang="en-US" dirty="0"/>
              <a:t>.</a:t>
            </a:r>
            <a:endParaRPr lang="en-CH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40C2649F-2264-A441-B529-A233C1D8E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7092" y="2717783"/>
            <a:ext cx="2568057" cy="252302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 err="1"/>
              <a:t>Ibustrum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que </a:t>
            </a:r>
            <a:r>
              <a:rPr lang="en-US" dirty="0" err="1"/>
              <a:t>volupicta</a:t>
            </a:r>
            <a:r>
              <a:rPr lang="en-US" dirty="0"/>
              <a:t> </a:t>
            </a:r>
            <a:r>
              <a:rPr lang="en-US" dirty="0" err="1"/>
              <a:t>coresec</a:t>
            </a:r>
            <a:r>
              <a:rPr lang="en-US" dirty="0"/>
              <a:t> </a:t>
            </a:r>
            <a:r>
              <a:rPr lang="en-US" dirty="0" err="1"/>
              <a:t>totatiatur</a:t>
            </a:r>
            <a:r>
              <a:rPr lang="en-US" dirty="0"/>
              <a:t>? </a:t>
            </a:r>
            <a:r>
              <a:rPr lang="en-US" dirty="0" err="1"/>
              <a:t>Issitae</a:t>
            </a:r>
            <a:r>
              <a:rPr lang="en-US" dirty="0"/>
              <a:t>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Ut </a:t>
            </a:r>
            <a:r>
              <a:rPr lang="en-US" dirty="0" err="1"/>
              <a:t>faccupta</a:t>
            </a:r>
            <a:r>
              <a:rPr lang="en-US" dirty="0"/>
              <a:t> </a:t>
            </a:r>
            <a:r>
              <a:rPr lang="en-US" dirty="0" err="1"/>
              <a:t>nonsequi</a:t>
            </a:r>
            <a:r>
              <a:rPr lang="en-US" dirty="0"/>
              <a:t> </a:t>
            </a:r>
            <a:r>
              <a:rPr lang="en-US" dirty="0" err="1"/>
              <a:t>omnis</a:t>
            </a:r>
            <a:r>
              <a:rPr lang="en-US" dirty="0"/>
              <a:t> dolor </a:t>
            </a:r>
            <a:r>
              <a:rPr lang="en-US" dirty="0" err="1"/>
              <a:t>auda</a:t>
            </a:r>
            <a:r>
              <a:rPr lang="en-US" dirty="0"/>
              <a:t> </a:t>
            </a:r>
            <a:r>
              <a:rPr lang="en-US" dirty="0" err="1"/>
              <a:t>dolupta</a:t>
            </a:r>
            <a:r>
              <a:rPr lang="en-US" dirty="0"/>
              <a:t> </a:t>
            </a:r>
            <a:r>
              <a:rPr lang="en-US" dirty="0" err="1"/>
              <a:t>turestis</a:t>
            </a:r>
            <a:r>
              <a:rPr lang="en-US" dirty="0"/>
              <a:t> </a:t>
            </a:r>
            <a:r>
              <a:rPr lang="en-US" dirty="0" err="1"/>
              <a:t>dolum</a:t>
            </a:r>
            <a:r>
              <a:rPr lang="en-US" dirty="0"/>
              <a:t> </a:t>
            </a:r>
            <a:r>
              <a:rPr lang="en-US" dirty="0" err="1"/>
              <a:t>faccume</a:t>
            </a:r>
            <a:r>
              <a:rPr lang="en-US" dirty="0"/>
              <a:t> </a:t>
            </a:r>
            <a:r>
              <a:rPr lang="en-US" dirty="0" err="1"/>
              <a:t>voluptur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que ra </a:t>
            </a:r>
            <a:r>
              <a:rPr lang="en-US" dirty="0" err="1"/>
              <a:t>dipsam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Coreperume</a:t>
            </a:r>
            <a:r>
              <a:rPr lang="en-US" dirty="0"/>
              <a:t> </a:t>
            </a:r>
            <a:r>
              <a:rPr lang="en-US" dirty="0" err="1"/>
              <a:t>etur</a:t>
            </a:r>
            <a:r>
              <a:rPr lang="en-US" dirty="0"/>
              <a:t> re </a:t>
            </a:r>
            <a:r>
              <a:rPr lang="en-US" dirty="0" err="1"/>
              <a:t>viducii</a:t>
            </a:r>
            <a:r>
              <a:rPr lang="en-US" dirty="0"/>
              <a:t> </a:t>
            </a:r>
            <a:r>
              <a:rPr lang="en-US" dirty="0" err="1"/>
              <a:t>ssitate</a:t>
            </a:r>
            <a:r>
              <a:rPr lang="en-US" dirty="0"/>
              <a:t> </a:t>
            </a:r>
            <a:r>
              <a:rPr lang="en-US" dirty="0" err="1"/>
              <a:t>dundaes</a:t>
            </a:r>
            <a:r>
              <a:rPr lang="en-US" dirty="0"/>
              <a:t> </a:t>
            </a:r>
            <a:r>
              <a:rPr lang="en-US" dirty="0" err="1"/>
              <a:t>truptasint</a:t>
            </a:r>
            <a:r>
              <a:rPr lang="en-US" dirty="0"/>
              <a:t>,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ulparupta</a:t>
            </a:r>
            <a:r>
              <a:rPr lang="en-US" dirty="0"/>
              <a:t> </a:t>
            </a:r>
            <a:r>
              <a:rPr lang="en-US" dirty="0" err="1"/>
              <a:t>sam</a:t>
            </a:r>
            <a:r>
              <a:rPr lang="en-US" dirty="0"/>
              <a:t>,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optatus</a:t>
            </a:r>
            <a:r>
              <a:rPr lang="en-US" dirty="0"/>
              <a:t> </a:t>
            </a:r>
            <a:r>
              <a:rPr lang="en-US" dirty="0" err="1"/>
              <a:t>derores</a:t>
            </a:r>
            <a:r>
              <a:rPr lang="en-US" dirty="0"/>
              <a:t> </a:t>
            </a:r>
            <a:r>
              <a:rPr lang="en-US" dirty="0" err="1"/>
              <a:t>tibus</a:t>
            </a:r>
            <a:r>
              <a:rPr lang="en-US" dirty="0"/>
              <a:t>.</a:t>
            </a:r>
            <a:endParaRPr lang="en-CH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FC63E6C-87DE-A645-91A0-E2DEF272D2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3111" y="1990417"/>
            <a:ext cx="1284029" cy="22220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Title A</a:t>
            </a:r>
            <a:endParaRPr lang="en-CH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995CC67-F9D4-2F4A-894A-0C126185F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48380" y="1993989"/>
            <a:ext cx="1284029" cy="22220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solidFill>
                  <a:schemeClr val="bg1"/>
                </a:solidFill>
                <a:latin typeface="EF Circular Bold" panose="020B0604020101020102" pitchFamily="34" charset="77"/>
              </a:defRPr>
            </a:lvl1pPr>
          </a:lstStyle>
          <a:p>
            <a:pPr lvl="0"/>
            <a:r>
              <a:rPr lang="en-US" dirty="0"/>
              <a:t>Title A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797043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81">
          <p15:clr>
            <a:srgbClr val="FBAE40"/>
          </p15:clr>
        </p15:guide>
        <p15:guide id="2" orient="horz" pos="1366" userDrawn="1">
          <p15:clr>
            <a:srgbClr val="FBAE40"/>
          </p15:clr>
        </p15:guide>
        <p15:guide id="3" pos="4112">
          <p15:clr>
            <a:srgbClr val="FBAE40"/>
          </p15:clr>
        </p15:guide>
        <p15:guide id="4" pos="3046">
          <p15:clr>
            <a:srgbClr val="FBAE40"/>
          </p15:clr>
        </p15:guide>
        <p15:guide id="5" pos="567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0771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nada/USA/South Americ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7060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ia/Russi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44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-lined title cover NO LOG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9FD5401-2D9E-5E43-8B57-C3C7EF391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411" y="1259647"/>
            <a:ext cx="5608590" cy="907083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goes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1177511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stralia/New Zealan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24811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th Americ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62422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28954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lined title cover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86116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Two-lined title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7808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" userDrawn="1">
          <p15:clr>
            <a:srgbClr val="FBAE40"/>
          </p15:clr>
        </p15:guide>
        <p15:guide id="2" orient="horz" pos="20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-lined title cover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F221E8D7-59F8-414C-82D5-DF88DB06C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411" y="1259647"/>
            <a:ext cx="6410346" cy="1910936"/>
          </a:xfrm>
          <a:prstGeom prst="rect">
            <a:avLst/>
          </a:prstGeom>
        </p:spPr>
        <p:txBody>
          <a:bodyPr/>
          <a:lstStyle>
            <a:lvl1pPr>
              <a:defRPr sz="5400" baseline="0">
                <a:solidFill>
                  <a:schemeClr val="tx1"/>
                </a:solidFill>
                <a:latin typeface="EF Circular Bold" panose="020B0604020101020102" pitchFamily="34" charset="77"/>
              </a:defRPr>
            </a:lvl1pPr>
          </a:lstStyle>
          <a:p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and continues here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694268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 Lockup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33ECEF-7C20-6D4B-BE5D-481B12E16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07643" y="1301088"/>
            <a:ext cx="4767618" cy="1897038"/>
          </a:xfrm>
          <a:prstGeom prst="rect">
            <a:avLst/>
          </a:prstGeom>
          <a:noFill/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890074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3659" userDrawn="1">
          <p15:clr>
            <a:srgbClr val="FBAE40"/>
          </p15:clr>
        </p15:guide>
        <p15:guide id="3" pos="4021" userDrawn="1">
          <p15:clr>
            <a:srgbClr val="FBAE40"/>
          </p15:clr>
        </p15:guide>
        <p15:guide id="4" orient="horz" pos="136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duct Lockup Cover No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33ECEF-7C20-6D4B-BE5D-481B12E166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07643" y="1301088"/>
            <a:ext cx="4767618" cy="1897038"/>
          </a:xfrm>
          <a:prstGeom prst="rect">
            <a:avLst/>
          </a:prstGeom>
          <a:noFill/>
        </p:spPr>
        <p:txBody>
          <a:bodyPr/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4191504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  <p15:guide id="2" pos="3659" userDrawn="1">
          <p15:clr>
            <a:srgbClr val="FBAE40"/>
          </p15:clr>
        </p15:guide>
        <p15:guide id="3" pos="4021" userDrawn="1">
          <p15:clr>
            <a:srgbClr val="FBAE40"/>
          </p15:clr>
        </p15:guide>
        <p15:guide id="4" orient="horz" pos="13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7778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27" r:id="rId2"/>
    <p:sldLayoutId id="2147483738" r:id="rId3"/>
    <p:sldLayoutId id="2147483728" r:id="rId4"/>
    <p:sldLayoutId id="2147483736" r:id="rId5"/>
    <p:sldLayoutId id="2147483739" r:id="rId6"/>
    <p:sldLayoutId id="2147483737" r:id="rId7"/>
    <p:sldLayoutId id="2147483729" r:id="rId8"/>
    <p:sldLayoutId id="2147483740" r:id="rId9"/>
    <p:sldLayoutId id="2147483730" r:id="rId10"/>
    <p:sldLayoutId id="2147483731" r:id="rId11"/>
    <p:sldLayoutId id="2147483732" r:id="rId12"/>
    <p:sldLayoutId id="2147483733" r:id="rId13"/>
    <p:sldLayoutId id="2147483735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57" r:id="rId20"/>
    <p:sldLayoutId id="2147483670" r:id="rId21"/>
    <p:sldLayoutId id="2147483658" r:id="rId22"/>
    <p:sldLayoutId id="2147483741" r:id="rId23"/>
    <p:sldLayoutId id="2147483708" r:id="rId24"/>
    <p:sldLayoutId id="2147483672" r:id="rId25"/>
    <p:sldLayoutId id="2147483671" r:id="rId26"/>
    <p:sldLayoutId id="2147483674" r:id="rId27"/>
    <p:sldLayoutId id="2147483673" r:id="rId28"/>
    <p:sldLayoutId id="2147483676" r:id="rId29"/>
    <p:sldLayoutId id="2147483675" r:id="rId30"/>
    <p:sldLayoutId id="2147483678" r:id="rId31"/>
    <p:sldLayoutId id="2147483723" r:id="rId32"/>
    <p:sldLayoutId id="2147483680" r:id="rId33"/>
    <p:sldLayoutId id="2147483679" r:id="rId34"/>
    <p:sldLayoutId id="2147483682" r:id="rId35"/>
    <p:sldLayoutId id="2147483681" r:id="rId36"/>
    <p:sldLayoutId id="2147483683" r:id="rId37"/>
    <p:sldLayoutId id="2147483684" r:id="rId38"/>
    <p:sldLayoutId id="2147483659" r:id="rId39"/>
    <p:sldLayoutId id="2147483685" r:id="rId40"/>
    <p:sldLayoutId id="2147483686" r:id="rId41"/>
    <p:sldLayoutId id="2147483687" r:id="rId42"/>
    <p:sldLayoutId id="2147483690" r:id="rId43"/>
    <p:sldLayoutId id="2147483725" r:id="rId44"/>
    <p:sldLayoutId id="2147483710" r:id="rId45"/>
    <p:sldLayoutId id="2147483726" r:id="rId46"/>
    <p:sldLayoutId id="2147483719" r:id="rId47"/>
    <p:sldLayoutId id="214748372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22" r:id="rId56"/>
    <p:sldLayoutId id="2147483701" r:id="rId57"/>
    <p:sldLayoutId id="2147483702" r:id="rId58"/>
    <p:sldLayoutId id="2147483703" r:id="rId59"/>
    <p:sldLayoutId id="2147483704" r:id="rId60"/>
    <p:sldLayoutId id="2147483705" r:id="rId61"/>
    <p:sldLayoutId id="2147483706" r:id="rId62"/>
    <p:sldLayoutId id="2147483650" r:id="rId63"/>
    <p:sldLayoutId id="2147483661" r:id="rId6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ef.com.co/hub/23/globalintern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B465D-BCD9-5B99-3480-BF4B6844A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b="1" dirty="0">
                <a:latin typeface="EF Circular Black" panose="020B0A04020101010102" pitchFamily="34" charset="0"/>
              </a:rPr>
              <a:t>EF GLOBAL INTERN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087566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52E67-E147-0EF2-C5FF-4649A7710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411" y="691805"/>
            <a:ext cx="5608590" cy="907083"/>
          </a:xfrm>
        </p:spPr>
        <p:txBody>
          <a:bodyPr/>
          <a:lstStyle/>
          <a:p>
            <a:r>
              <a:rPr lang="de-CH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¿Qué es </a:t>
            </a:r>
            <a:r>
              <a:rPr lang="de-CH" sz="54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EF Global Intern</a:t>
            </a:r>
            <a:r>
              <a:rPr lang="de-CH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?</a:t>
            </a:r>
            <a:r>
              <a:rPr lang="de-CH" sz="5400" b="1" dirty="0"/>
              <a:t>	</a:t>
            </a:r>
            <a:endParaRPr lang="en-US" sz="5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FAA70A-C838-2D00-FCED-4E8CDBDF5197}"/>
              </a:ext>
            </a:extLst>
          </p:cNvPr>
          <p:cNvSpPr txBox="1">
            <a:spLocks/>
          </p:cNvSpPr>
          <p:nvPr/>
        </p:nvSpPr>
        <p:spPr>
          <a:xfrm>
            <a:off x="6376692" y="1104900"/>
            <a:ext cx="4592168" cy="517664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60000"/>
              </a:lnSpc>
              <a:buNone/>
            </a:pPr>
            <a:r>
              <a:rPr lang="de-CH" sz="1700" dirty="0">
                <a:latin typeface="EF Circular Light" panose="020B0404020101020102"/>
                <a:cs typeface="EF Circular Black" panose="020B0A04020101010102" pitchFamily="34" charset="0"/>
              </a:rPr>
              <a:t>Es tu oportunidad de obtener una experiencia internacional y mejorar tu hoja de vida. </a:t>
            </a:r>
          </a:p>
          <a:p>
            <a:pPr marL="0" indent="0">
              <a:lnSpc>
                <a:spcPct val="160000"/>
              </a:lnSpc>
              <a:buNone/>
            </a:pPr>
            <a:r>
              <a:rPr lang="de-CH" sz="1700" dirty="0">
                <a:latin typeface="EF Circular Light" panose="020B0404020101020102"/>
                <a:cs typeface="EF Circular Light" panose="020B0404020101020102" pitchFamily="34" charset="0"/>
              </a:rPr>
              <a:t>El EF Global Intern es nuestra competencia en una segunda lengua, que busca invitar a los estudiantes de todo el mundo a responder a una pregunta diferente cada año. </a:t>
            </a:r>
          </a:p>
          <a:p>
            <a:pPr marL="0" indent="0">
              <a:lnSpc>
                <a:spcPct val="160000"/>
              </a:lnSpc>
              <a:buNone/>
            </a:pPr>
            <a:r>
              <a:rPr lang="de-CH" sz="1700" b="1" dirty="0">
                <a:latin typeface="EF Circular Light" panose="020B0404020101020102"/>
                <a:cs typeface="EF Circular Black" panose="020B0A04020101010102" pitchFamily="34" charset="0"/>
              </a:rPr>
              <a:t>Participantes:</a:t>
            </a:r>
            <a:r>
              <a:rPr lang="de-CH" sz="1700" dirty="0">
                <a:latin typeface="EF Circular Light" panose="020B0404020101020102"/>
                <a:cs typeface="EF Circular Black" panose="020B0A04020101010102" pitchFamily="34" charset="0"/>
              </a:rPr>
              <a:t> </a:t>
            </a:r>
            <a:r>
              <a:rPr lang="de-CH" sz="1700" dirty="0">
                <a:latin typeface="EF Circular Light" panose="020B0404020101020102"/>
                <a:cs typeface="EF Circular Light" panose="020B0404020101020102" pitchFamily="34" charset="0"/>
              </a:rPr>
              <a:t>Estudiantes universitarios / egresados recientes.</a:t>
            </a:r>
          </a:p>
          <a:p>
            <a:pPr marL="0" indent="0">
              <a:lnSpc>
                <a:spcPct val="160000"/>
              </a:lnSpc>
              <a:buNone/>
            </a:pPr>
            <a:r>
              <a:rPr lang="de-CH" sz="1700" b="1" dirty="0">
                <a:latin typeface="EF Circular Light" panose="020B0404020101020102"/>
                <a:cs typeface="EF Circular Black" panose="020B0A04020101010102" pitchFamily="34" charset="0"/>
              </a:rPr>
              <a:t>Formato:</a:t>
            </a:r>
            <a:r>
              <a:rPr lang="de-CH" sz="1700" dirty="0">
                <a:latin typeface="EF Circular Light" panose="020B0404020101020102"/>
                <a:cs typeface="EF Circular Black" panose="020B0A04020101010102" pitchFamily="34" charset="0"/>
              </a:rPr>
              <a:t> 60 segundos</a:t>
            </a:r>
            <a:r>
              <a:rPr lang="de-CH" sz="1700" dirty="0">
                <a:latin typeface="EF Circular Light" panose="020B0404020101020102"/>
                <a:cs typeface="EF Circular Light" panose="020B0404020101020102" pitchFamily="34" charset="0"/>
              </a:rPr>
              <a:t> de video.</a:t>
            </a:r>
          </a:p>
          <a:p>
            <a:pPr marL="0" indent="0">
              <a:lnSpc>
                <a:spcPct val="160000"/>
              </a:lnSpc>
              <a:buNone/>
            </a:pPr>
            <a:r>
              <a:rPr lang="de-CH" sz="1700" b="1" dirty="0">
                <a:latin typeface="EF Circular Light" panose="020B0404020101020102"/>
                <a:cs typeface="EF Circular Black" panose="020B0A04020101010102" pitchFamily="34" charset="0"/>
              </a:rPr>
              <a:t>Idioma:</a:t>
            </a:r>
            <a:r>
              <a:rPr lang="de-CH" sz="1700" dirty="0">
                <a:latin typeface="EF Circular Light" panose="020B0404020101020102"/>
                <a:cs typeface="EF Circular Black" panose="020B0A04020101010102" pitchFamily="34" charset="0"/>
              </a:rPr>
              <a:t> </a:t>
            </a:r>
            <a:r>
              <a:rPr lang="de-CH" sz="1700" dirty="0">
                <a:latin typeface="EF Circular Light" panose="020B0404020101020102"/>
                <a:cs typeface="EF Circular Light" panose="020B0404020101020102" pitchFamily="34" charset="0"/>
              </a:rPr>
              <a:t>Inglés, Francés o Alemán </a:t>
            </a:r>
          </a:p>
          <a:p>
            <a:pPr marL="0" indent="0">
              <a:lnSpc>
                <a:spcPct val="160000"/>
              </a:lnSpc>
              <a:buNone/>
            </a:pPr>
            <a:r>
              <a:rPr lang="de-CH" sz="1700" b="1" dirty="0">
                <a:latin typeface="EF Circular Light" panose="020B0404020101020102"/>
                <a:cs typeface="EF Circular Light" panose="020B0404020101020102" pitchFamily="34" charset="0"/>
              </a:rPr>
              <a:t>Fecha Limite:</a:t>
            </a:r>
            <a:r>
              <a:rPr lang="de-CH" sz="1700" dirty="0">
                <a:latin typeface="EF Circular Light" panose="020B0404020101020102"/>
                <a:cs typeface="EF Circular Light" panose="020B0404020101020102" pitchFamily="34" charset="0"/>
              </a:rPr>
              <a:t> 30 de Junio</a:t>
            </a:r>
          </a:p>
          <a:p>
            <a:pPr marL="0" indent="0">
              <a:lnSpc>
                <a:spcPct val="160000"/>
              </a:lnSpc>
              <a:buNone/>
            </a:pPr>
            <a:r>
              <a:rPr lang="de-CH" sz="1700" b="1" dirty="0">
                <a:latin typeface="EF Circular Light" panose="020B0404020101020102"/>
                <a:cs typeface="EF Circular Black" panose="020B0A04020101010102" pitchFamily="34" charset="0"/>
              </a:rPr>
              <a:t>Premio:</a:t>
            </a:r>
            <a:r>
              <a:rPr lang="de-CH" sz="1700" dirty="0">
                <a:latin typeface="EF Circular Light" panose="020B0404020101020102"/>
                <a:cs typeface="EF Circular Black" panose="020B0A04020101010102" pitchFamily="34" charset="0"/>
              </a:rPr>
              <a:t>  </a:t>
            </a:r>
            <a:r>
              <a:rPr lang="de-CH" sz="1700" dirty="0">
                <a:latin typeface="EF Circular Light" panose="020B0404020101020102"/>
                <a:cs typeface="EF Circular Light" panose="020B0404020101020102" pitchFamily="34" charset="0"/>
              </a:rPr>
              <a:t>Gana un viaje a uno de nuestros 6 destinos.</a:t>
            </a:r>
            <a:endParaRPr lang="de-CH" sz="1700" dirty="0">
              <a:solidFill>
                <a:schemeClr val="tx1">
                  <a:lumMod val="75000"/>
                  <a:lumOff val="25000"/>
                </a:schemeClr>
              </a:solidFill>
              <a:latin typeface="EF Circular Light" panose="020B0404020101020102"/>
            </a:endParaRPr>
          </a:p>
          <a:p>
            <a:pPr marL="0" indent="0">
              <a:buNone/>
            </a:pPr>
            <a:endParaRPr lang="de-CH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de-CH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de-CH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de-CH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5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CFF6E5C-25E4-F379-E735-547DDF70AB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79"/>
          <a:stretch/>
        </p:blipFill>
        <p:spPr>
          <a:xfrm>
            <a:off x="560560" y="2374900"/>
            <a:ext cx="5462292" cy="296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516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29E58-95EC-F92B-D50E-33F593EDC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6094" y="2111021"/>
            <a:ext cx="9337855" cy="2416219"/>
          </a:xfrm>
        </p:spPr>
        <p:txBody>
          <a:bodyPr/>
          <a:lstStyle/>
          <a:p>
            <a:r>
              <a:rPr lang="es-ES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¿Cómo crees que el </a:t>
            </a:r>
            <a:r>
              <a:rPr lang="en-US" sz="5400" b="1" dirty="0" err="1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aprendizaje</a:t>
            </a:r>
            <a:r>
              <a:rPr lang="en-US" sz="54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 de </a:t>
            </a:r>
            <a:r>
              <a:rPr lang="en-US" sz="5400" b="1" dirty="0" err="1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idiomas</a:t>
            </a:r>
            <a:r>
              <a:rPr lang="es-ES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 puede ayudar a crear un mundo mejor? </a:t>
            </a:r>
            <a:br>
              <a:rPr lang="en-US" sz="4800" b="1" dirty="0"/>
            </a:br>
            <a:endParaRPr lang="en-CH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7F10EB3-8DA9-0A14-50BC-677A72D9E2BB}"/>
              </a:ext>
            </a:extLst>
          </p:cNvPr>
          <p:cNvSpPr txBox="1">
            <a:spLocks/>
          </p:cNvSpPr>
          <p:nvPr/>
        </p:nvSpPr>
        <p:spPr>
          <a:xfrm>
            <a:off x="516124" y="100912"/>
            <a:ext cx="11066275" cy="16826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60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/>
                <a:cs typeface="EF Circular Bold" panose="020B0804020101010102" pitchFamily="34" charset="0"/>
              </a:rPr>
              <a:t>Pregunta 2024 </a:t>
            </a:r>
            <a:endParaRPr lang="en-US" sz="6000" b="1" dirty="0">
              <a:solidFill>
                <a:schemeClr val="bg1"/>
              </a:solidFill>
              <a:highlight>
                <a:srgbClr val="000000"/>
              </a:highlight>
              <a:latin typeface="EF Circular Black" panose="020B0A04020101010102"/>
              <a:cs typeface="EF Circular Bold" panose="020B08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36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6C29A21-7410-B537-A77C-BCF8A7B892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4083" y="883791"/>
            <a:ext cx="4061469" cy="28928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BA67D72-1DDF-66CC-0A78-ED0E3E04B2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8074" y="890512"/>
            <a:ext cx="4054704" cy="290849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BDF6B8BD-2E25-6AD6-9613-C683438583B3}"/>
              </a:ext>
            </a:extLst>
          </p:cNvPr>
          <p:cNvGrpSpPr/>
          <p:nvPr/>
        </p:nvGrpSpPr>
        <p:grpSpPr>
          <a:xfrm>
            <a:off x="2485320" y="874827"/>
            <a:ext cx="3001249" cy="2892804"/>
            <a:chOff x="437277" y="1645858"/>
            <a:chExt cx="3001249" cy="2892804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0BE90D8-25FA-4113-27D7-48BEF31C32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1" r="3962"/>
            <a:stretch/>
          </p:blipFill>
          <p:spPr>
            <a:xfrm>
              <a:off x="437278" y="1645858"/>
              <a:ext cx="3001248" cy="2892804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BDFB963-4264-95BF-F4A5-E6D2D8254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7277" y="1936067"/>
              <a:ext cx="1515348" cy="652765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8AE8E36-BBA5-CE4D-D746-0AC1A39A171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499" b="22560"/>
          <a:stretch/>
        </p:blipFill>
        <p:spPr>
          <a:xfrm>
            <a:off x="2500480" y="3774782"/>
            <a:ext cx="3000376" cy="281463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0401BD-C4A3-5BB0-5F80-4D72702254E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236" r="-404" b="25018"/>
          <a:stretch/>
        </p:blipFill>
        <p:spPr>
          <a:xfrm>
            <a:off x="5493436" y="3772195"/>
            <a:ext cx="3244975" cy="281463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D4D897F-39B2-4E65-3B71-B544D95502A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312" b="20273"/>
          <a:stretch/>
        </p:blipFill>
        <p:spPr>
          <a:xfrm>
            <a:off x="8738412" y="3756341"/>
            <a:ext cx="2907140" cy="2824163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371F0CB-9995-D812-9CA7-F80654652583}"/>
              </a:ext>
            </a:extLst>
          </p:cNvPr>
          <p:cNvSpPr txBox="1">
            <a:spLocks/>
          </p:cNvSpPr>
          <p:nvPr/>
        </p:nvSpPr>
        <p:spPr>
          <a:xfrm rot="16200000">
            <a:off x="-4289700" y="2957665"/>
            <a:ext cx="11066275" cy="16826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60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/>
                <a:cs typeface="EF Circular Bold" panose="020B0804020101010102" pitchFamily="34" charset="0"/>
              </a:rPr>
              <a:t>Destinos</a:t>
            </a:r>
            <a:endParaRPr lang="en-US" sz="6000" b="1" dirty="0">
              <a:solidFill>
                <a:schemeClr val="bg1"/>
              </a:solidFill>
              <a:highlight>
                <a:srgbClr val="000000"/>
              </a:highlight>
              <a:latin typeface="EF Circular Black" panose="020B0A04020101010102"/>
              <a:cs typeface="EF Circular Bold" panose="020B08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7204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52E67-E147-0EF2-C5FF-4649A7710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411" y="691805"/>
            <a:ext cx="6839078" cy="907083"/>
          </a:xfrm>
        </p:spPr>
        <p:txBody>
          <a:bodyPr/>
          <a:lstStyle/>
          <a:p>
            <a:r>
              <a:rPr lang="de-CH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¿Qué incluye el </a:t>
            </a:r>
            <a:r>
              <a:rPr lang="de-CH" sz="54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premio?</a:t>
            </a:r>
            <a:br>
              <a:rPr lang="en-US" sz="5400" b="1" dirty="0"/>
            </a:br>
            <a:r>
              <a:rPr lang="de-CH" sz="5400" b="1" dirty="0"/>
              <a:t>	</a:t>
            </a:r>
            <a:endParaRPr lang="en-US" sz="5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FAA70A-C838-2D00-FCED-4E8CDBDF5197}"/>
              </a:ext>
            </a:extLst>
          </p:cNvPr>
          <p:cNvSpPr txBox="1">
            <a:spLocks/>
          </p:cNvSpPr>
          <p:nvPr/>
        </p:nvSpPr>
        <p:spPr>
          <a:xfrm>
            <a:off x="836373" y="2545168"/>
            <a:ext cx="4592168" cy="49329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de-CH" sz="16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Vive una experiencia profesional en el exterior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CH" sz="16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Vuelos de ida y vuelta al destino elegido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CH" sz="16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5 semanas de alojamiento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CH" sz="16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1 semana de curso de idioma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CH" sz="16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Programa de prácticas de 4 semas</a:t>
            </a:r>
            <a:endParaRPr lang="de-CH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de-CH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Picture 4" descr="A group of people sitting outside a building&#10;&#10;Description automatically generated">
            <a:extLst>
              <a:ext uri="{FF2B5EF4-FFF2-40B4-BE49-F238E27FC236}">
                <a16:creationId xmlns:a16="http://schemas.microsoft.com/office/drawing/2014/main" id="{40FD7E20-263A-D696-99E7-6CBFBC2181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4999"/>
          <a:stretch/>
        </p:blipFill>
        <p:spPr>
          <a:xfrm>
            <a:off x="5976061" y="1676075"/>
            <a:ext cx="4592168" cy="449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10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B8AF3A0-F2C4-A119-4543-8B74B7BDC289}"/>
              </a:ext>
            </a:extLst>
          </p:cNvPr>
          <p:cNvSpPr txBox="1">
            <a:spLocks/>
          </p:cNvSpPr>
          <p:nvPr/>
        </p:nvSpPr>
        <p:spPr>
          <a:xfrm>
            <a:off x="487411" y="439314"/>
            <a:ext cx="6839078" cy="9070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¿Cómo </a:t>
            </a:r>
            <a:r>
              <a:rPr lang="de-CH" sz="54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registrarse?</a:t>
            </a:r>
            <a:br>
              <a:rPr lang="en-US" sz="5400" b="1" dirty="0"/>
            </a:br>
            <a:r>
              <a:rPr lang="de-CH" sz="5400" b="1" dirty="0"/>
              <a:t>	</a:t>
            </a:r>
            <a:endParaRPr lang="en-US" sz="54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A24547-0CAB-8EB5-0ECE-DAB67B38DD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153"/>
          <a:stretch/>
        </p:blipFill>
        <p:spPr>
          <a:xfrm>
            <a:off x="2100364" y="1445097"/>
            <a:ext cx="8193745" cy="4009273"/>
          </a:xfrm>
          <a:prstGeom prst="rect">
            <a:avLst/>
          </a:prstGeom>
        </p:spPr>
      </p:pic>
      <p:pic>
        <p:nvPicPr>
          <p:cNvPr id="8" name="Picture 7" descr="A qr code on a black background&#10;&#10;Description automatically generated">
            <a:extLst>
              <a:ext uri="{FF2B5EF4-FFF2-40B4-BE49-F238E27FC236}">
                <a16:creationId xmlns:a16="http://schemas.microsoft.com/office/drawing/2014/main" id="{CB7DB697-4F74-8738-1BAB-1BEFB9E83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015" y="2017649"/>
            <a:ext cx="2864168" cy="28641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E0E1DF8-F5B4-B835-38A0-A6F41DD23D42}"/>
              </a:ext>
            </a:extLst>
          </p:cNvPr>
          <p:cNvSpPr txBox="1"/>
          <p:nvPr/>
        </p:nvSpPr>
        <p:spPr>
          <a:xfrm>
            <a:off x="1988202" y="5553071"/>
            <a:ext cx="8896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hlinkClick r:id="rId4"/>
              </a:rPr>
              <a:t>https://www.ef.com.co/hub/23/globalintern/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34940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tanding on a sandy beach&#10;&#10;Description automatically generated">
            <a:extLst>
              <a:ext uri="{FF2B5EF4-FFF2-40B4-BE49-F238E27FC236}">
                <a16:creationId xmlns:a16="http://schemas.microsoft.com/office/drawing/2014/main" id="{79E462BE-B384-9AD4-3D18-A71ED93CB0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368"/>
          <a:stretch/>
        </p:blipFill>
        <p:spPr>
          <a:xfrm>
            <a:off x="7162800" y="1728561"/>
            <a:ext cx="4914900" cy="3400877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609C324-6DAC-D079-53DA-148AEEB1E8D5}"/>
              </a:ext>
            </a:extLst>
          </p:cNvPr>
          <p:cNvSpPr txBox="1">
            <a:spLocks/>
          </p:cNvSpPr>
          <p:nvPr/>
        </p:nvSpPr>
        <p:spPr>
          <a:xfrm>
            <a:off x="487411" y="563492"/>
            <a:ext cx="6839078" cy="9070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5400" b="1" dirty="0">
                <a:latin typeface="EF Circular Black" panose="020B0A04020101010102" pitchFamily="34" charset="0"/>
                <a:cs typeface="EF Circular Black" panose="020B0A04020101010102" pitchFamily="34" charset="0"/>
              </a:rPr>
              <a:t>Estrategias de </a:t>
            </a:r>
            <a:r>
              <a:rPr lang="de-CH" sz="5400" b="1" dirty="0">
                <a:solidFill>
                  <a:schemeClr val="bg1"/>
                </a:solidFill>
                <a:highlight>
                  <a:srgbClr val="000000"/>
                </a:highlight>
                <a:latin typeface="EF Circular Black" panose="020B0A04020101010102" pitchFamily="34" charset="0"/>
                <a:cs typeface="EF Circular Black" panose="020B0A04020101010102" pitchFamily="34" charset="0"/>
              </a:rPr>
              <a:t>difusión</a:t>
            </a:r>
            <a:br>
              <a:rPr lang="en-US" sz="5400" b="1" dirty="0"/>
            </a:br>
            <a:r>
              <a:rPr lang="de-CH" sz="5400" b="1" dirty="0"/>
              <a:t>	</a:t>
            </a:r>
            <a:endParaRPr lang="en-US" sz="54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E2676A-1CE0-5DC1-3D5C-D843B8726B17}"/>
              </a:ext>
            </a:extLst>
          </p:cNvPr>
          <p:cNvSpPr txBox="1"/>
          <p:nvPr/>
        </p:nvSpPr>
        <p:spPr>
          <a:xfrm>
            <a:off x="452207" y="1829402"/>
            <a:ext cx="6874282" cy="4029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24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Correo a base de datos interna de la Universidad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24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Link en la pagina web de la Universida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2400" dirty="0">
                <a:latin typeface="EF Circular Light" panose="020B0404020101020102" pitchFamily="34" charset="0"/>
                <a:cs typeface="EF Circular Light" panose="020B0404020101020102" pitchFamily="34" charset="0"/>
              </a:rPr>
              <a:t>Charlas explicando el EF Global Intern en la Universida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2400">
                <a:latin typeface="EF Circular Light" panose="020B0404020101020102" pitchFamily="34" charset="0"/>
                <a:cs typeface="EF Circular Light" panose="020B0404020101020102" pitchFamily="34" charset="0"/>
              </a:rPr>
              <a:t>Entrega de Flyers en la universidad</a:t>
            </a:r>
            <a:endParaRPr lang="de-CH" sz="2400" dirty="0">
              <a:latin typeface="EF Circular Light" panose="020B0404020101020102" pitchFamily="34" charset="0"/>
              <a:cs typeface="EF Circular Light" panose="020B0404020101020102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CH" sz="2400" dirty="0">
              <a:latin typeface="EF Circular Light" panose="020B0404020101020102" pitchFamily="34" charset="0"/>
              <a:cs typeface="EF Circular Light" panose="020B0404020101020102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CH" sz="1400" dirty="0">
              <a:latin typeface="EF Circular Light" panose="020B0404020101020102" pitchFamily="34" charset="0"/>
              <a:cs typeface="EF Circular Light" panose="020B0404020101020102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en-US" sz="1400" dirty="0">
              <a:latin typeface="EF Circular Light" panose="020B0404020101020102" pitchFamily="34" charset="0"/>
              <a:cs typeface="EF Circular Light" panose="020B04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924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oN9iICKmVbkYoy74nI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2aE0po19JlZpUvZaqd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VnWs.D3Q_lXjAtYk.I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a9utfltN8Whr.DAVvGj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ltqeABWZP5nQDxuUN1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jzhi9RLhAbr_Ej5Wf8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XyOZNrHC3I5zjXrDKN3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n.CGVVxcd_kw0dVecMz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7XxMwZ4GXn6UieDXqs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zDOoupAb5zZsF9P8s9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VI_6SplosCJxKm918j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m2SxJ2UmkeWBO28UFz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eBsQWJ2B6UJsN8G3jr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.FhuENnACIOqYUXm47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a9W7vXzUEKxeyq1O0P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cpW3DKwQVgFt6bSiQ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DIccYToKOdIfsiDPwM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azi7Te9hHvyjz7b7F7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9SR6c6EthV3bPe8CG8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tKmYT.ItDriOu2DLIL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J7Pzb.BkY.IpRawdtZ0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tKTqkSoIuwSWYSE1Gt9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XbvPqZWacJnovH24TD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KJG.9uXPjTu8NJ0O2v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vQltc3ca3eIRJBu_cHw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6YqgXS_VHayA7r_hTiD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gXTEqCsrIGQxCd18qm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9HoSOD1XfGzSgn2FuNI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AkHEp1d5TX3ttZjg2C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ClO8r6wyTVUDK16qbST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U2IIwX0iT6xclmG_wY7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ltByhc84L8S179fEw2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J3LQ6sof1qVOc7LTryV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idScTD17Ok2e_cnH03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vSPUhFwhx3VYZvnmaFP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0TXeu11PoEXr7dWJeGp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OXBB89OFiIKUvujvA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zS9YRbR9v7RhvJzGs04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uBunYpZ8OxKBQKA9zb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fqwZjsLtyAvqbzXcSN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qYD8oZnz1MqaZRhGH1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Ij94vhx2sCkM.6NK172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0F30.fNrToVD3kfQxc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4ovVSNzzcgcQSW7MW7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JbonBrRsq5aqKXh2TT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nOv9U9nTPQGLxqerSKb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6nhWAQ5FMLsufE2s6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ONXQnycWqIAYRGgAqr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_fKaYbFW2QgxZ2zfmB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AsHEiGOSQPW7vXy_mV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QZvcMXq19WF5jhzVJR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0Itv98W0c1eWXNyGli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FlfzeOpLbd0u6qfqK4n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UibnfFOKsw4nD4r7Qyk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hgaKRmDI87Ory_rgFaB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IQxrKuqc2gJwlj7r3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ncidU2glsjOw7EXlD5h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CToF86FajV1hQjifQp7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r5iABs3ZqXkQW7CT_3M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A9z_fAb7dZzIXKUTNY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nLjacwHYOzWtcCbRbV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ql7G5MzTCPKJfHrkqe0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pLQYgSyJRKDSJ8Rh59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g9vTUSpmQ4bYZgO9p8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x5dBrLLXHHHiU9nPDO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3ZvRc_5iS1GKex_ixOc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WBWXDY52YJLr7UW8YR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qEXTTWSvq2ECk0LAxL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yBWhR09FyaILWGNzsxC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wvHSkajvCAFflTWpHh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mxAO6rVEo_GyrKXMQwd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tZHlT8vuj7v0eNe2Q0U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IBLek.5A.Qwv4WDHIdC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rU012K8uNN2Z9NH56.d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8AAgKQImJumSd2q7gG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VnWs.D3Q_lXjAtYk.IJ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a9utfltN8Whr.DAVvGj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ltqeABWZP5nQDxuUN1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5nJYRgJuV9UJDTOFia2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jzhi9RLhAbr_Ej5Wf8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XyOZNrHC3I5zjXrDKN3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n.CGVVxcd_kw0dVecMz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7XxMwZ4GXn6UieDXqs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zDOoupAb5zZsF9P8s9J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VI_6SplosCJxKm918jf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m2SxJ2UmkeWBO28UFz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y.FhuENnACIOqYUXm47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a9W7vXzUEKxeyq1O0Pa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cpW3DKwQVgFt6bSiQ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t56efQAw5xXJ5xS3U6f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DIccYToKOdIfsiDPwM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azi7Te9hHvyjz7b7F7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j9SR6c6EthV3bPe8CG8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tKmYT.ItDriOu2DLIL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J7Pzb.BkY.IpRawdtZ0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tKTqkSoIuwSWYSE1Gt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XbvPqZWacJnovH24TDG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vQltc3ca3eIRJBu_cHw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6YqgXS_VHayA7r_hTiD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gXTEqCsrIGQxCd18q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h9SYjk40Rj8QkEfMWj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9HoSOD1XfGzSgn2FuNI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AkHEp1d5TX3ttZjg2Ck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ClO8r6wyTVUDK16qbST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U2IIwX0iT6xclmG_wY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ltByhc84L8S179fEw2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J3LQ6sof1qVOc7LTryV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idScTD17Ok2e_cnH035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0TXeu11PoEXr7dWJeGp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UOXBB89OFiIKUvujvA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zS9YRbR9v7RhvJzGs0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TOco2yysR3v9qh9v6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B1lQKzhfmaCYnWiLv4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uBunYpZ8OxKBQKA9zbo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fqwZjsLtyAvqbzXcSN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qYD8oZnz1MqaZRhGH1Z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Ij94vhx2sCkM.6NK172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0F30.fNrToVD3kfQxcJ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4ovVSNzzcgcQSW7MW7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JbonBrRsq5aqKXh2TTS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06nhWAQ5FMLsufE2s6g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ONXQnycWqIAYRGgAqro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_fKaYbFW2QgxZ2zfm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8DcZycR1QfAo3LsSb.k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AsHEiGOSQPW7vXy_mV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QZvcMXq19WF5jhzVJR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0Itv98W0c1eWXNyGli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FlfzeOpLbd0u6qfqK4n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UibnfFOKsw4nD4r7Qyk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hgaKRmDI87Ory_rgFaB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IIQxrKuqc2gJwlj7r39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CToF86FajV1hQjifQp7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r5iABs3ZqXkQW7CT_3M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wAxh88P6ifVAiywWrk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hXzBb0P9Q3ZxpFicR1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qK5oVC5Pvfnw.OHdN0H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WL0.wKpFt_LzGgnaT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9vv82KErfHZuH6jubK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_HBDFGPYgbA44xkMNYz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pXgeAOudmGEfjN10sBq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rFZL97u4.GzDgSXTTG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RYKZWq1jUntIBeZ0aJE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86EKAwKfzgOHo1ZvEv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XIIsGE4s_n1PnW85c8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BssVhS4FyPS932assq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nuafzGZR6ZLulNPvDj0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9SXgHndDq83mNsHJzZ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B3aDDY3xsXQeyXnXnVj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mir6FnTRSq559tktZQ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jOwzTLTNt5.7arG1kfA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i62co3xWYML9MMHMgy6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PfVVdCPfRao90a6OdnC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V.c34vcatziQRBSuRES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giVre9TZQCknr.uN03E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.pEKC47IbACR.o6HLh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reBHBlmVTWDwUGZogH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fBw6_IKkXpJd8G1Bgy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VVOjC99DjK9WqSg8vwk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d20CDxvWD2p3iyHj1ID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T6AganuNWWvkYPBKWJO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diMT9ahTxydm.2gOUHt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SNQAqcMNVkOx7YNe_xS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2yStR3JUGFzr7pdJv.q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9YjGiBsa0SuEIr2pK6e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nJmjP57WiGSZGLUL17j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L0Q_YFBXYCYdiQxV4t5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V68ktWJptnDKOclus2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FAett.y5CKghDCsI.Z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PzDoUI96Zpgo2NColSK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Cty4Dc2KbeZN70qdR2c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qWkkzUqHkhvd8KUWES7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wAxh88P6ifVAiywWrky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qK5oVC5Pvfnw.OHdN0H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WL0.wKpFt_LzGgnaT6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9vv82KErfHZuH6jubK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_HBDFGPYgbA44xkMNYz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pXgeAOudmGEfjN10sBq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rFZL97u4.GzDgSXTTG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CnQF507Hg31aUEQvFBx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RYKZWq1jUntIBeZ0aJ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86EKAwKfzgOHo1ZvEv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nXIIsGE4s_n1PnW85c8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BssVhS4FyPS932assqI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9SXgHndDq83mNsHJzZz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B3aDDY3xsXQeyXnXnVj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mir6FnTRSq559tktZQ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jOwzTLTNt5.7arG1kfA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i62co3xWYML9MMHMgy6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PfVVdCPfRao90a6Odn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SC..rAB..3m.eXYmQ3D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V.c34vcatziQRBSuRES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giVre9TZQCknr.uN03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.pEKC47IbACR.o6HLh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reBHBlmVTWDwUGZogH1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VVOjC99DjK9WqSg8vwk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d20CDxvWD2p3iyHj1ID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T6AganuNWWvkYPBKWJO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diMT9ahTxydm.2gOUHt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SNQAqcMNVkOx7YNe_xS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2yStR3JUGFzr7pdJv.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liB1vHrDt2AW32sg_L5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9YjGiBsa0SuEIr2pK6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nJmjP57WiGSZGLUL17j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L0Q_YFBXYCYdiQxV4t5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V68ktWJptnDKOclus2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PzDoUI96Zpgo2NColSK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Cty4Dc2KbeZN70qdR2c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qWkkzUqHkhvd8KUWES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CT7r1iDCAqOzGqwLLs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hO3UTzYcceGTipj7Os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zoEW2.mJetaPkxlR5o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4cxMxR0xrHMy726lv5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xXP8zZxKUyHbfThN1v7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ttzXX1UC0ZRrX7XcQ7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O77zrXpHqz9k2tnuqn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kNwmA_GgdPMJ4B.0NF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Bv2QPSZHgsXAG5bGR5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T85GljTDXXuiVWAih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uVwMuB.GBKKdNgxYK7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QZN8iwsbOHTjfZDwo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jj.W6ioXdorA9PwU1l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5s5ewH7l129BwcZtEz.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nNbvrYy9Plvgb8_j9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uklScUZHT4NSH1MjYc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oN9iICKmVbkYoy74n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TOco2yysR3v9qh9v6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hO3UTzYcceGTipj7Os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jj.W6ioXdorA9PwU1l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x67nmhmnqbXdr3_St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k399O0gz_PnqWAkqkF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a0jqBDc4Ibqfv4rgu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x67nmhmnqbXdr3_St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XA8LM1RGnd2tI.2D2j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U13MKj7Lb3UidWazaC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2aE0po19JlZpUvZaqdU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eBsQWJ2B6UJsN8G3j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KJG.9uXPjTu8NJ0O2v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vSPUhFwhx3VYZvnmaF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nOv9U9nTPQGLxqerSKb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ncidU2glsjOw7EXlD5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WqEXTTWSvq2ECk0LAx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5nJYRgJuV9UJDTOFia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k399O0gz_PnqWAkqkFS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t56efQAw5xXJ5xS3U6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h9SYjk40Rj8QkEfMWj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B1lQKzhfmaCYnWiLv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8DcZycR1QfAo3LsSb.k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hXzBb0P9Q3ZxpFicR1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nuafzGZR6ZLulNPvDj0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WfBw6_IKkXpJd8G1Bg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FAett.y5CKghDCsI.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CnQF507Hg31aUEQvFB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SC..rAB..3m.eXYmQ3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a0jqBDc4Ibqfv4rguH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liB1vHrDt2AW32sg_L5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CT7r1iDCAqOzGqwLLs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zoEW2.mJetaPkxlR5o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4cxMxR0xrHMy726lv5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xXP8zZxKUyHbfThN1v7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ttzXX1UC0ZRrX7XcQ7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O77zrXpHqz9k2tnuqna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kNwmA_GgdPMJ4B.0NF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Bv2QPSZHgsXAG5bGR5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T85GljTDXXuiVWAih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XA8LM1RGnd2tI.2D2j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uVwMuB.GBKKdNgxYK7t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QZN8iwsbOHTjfZDwon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5s5ewH7l129BwcZtEz.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nNbvrYy9Plvgb8_j9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uklScUZHT4NSH1MjYcK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A9z_fAb7dZzIXKUTNY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nLjacwHYOzWtcCbRb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ql7G5MzTCPKJfHrkqe0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pLQYgSyJRKDSJ8Rh59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g9vTUSpmQ4bYZgO9p8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U13MKj7Lb3UidWazaCf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x5dBrLLXHHHiU9nPD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3ZvRc_5iS1GKex_ixO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WBWXDY52YJLr7UW8YR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yBWhR09FyaILWGNzsxC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wvHSkajvCAFflTWpHh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mxAO6rVEo_GyrKXMQw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tZHlT8vuj7v0eNe2Q0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IBLek.5A.Qwv4WDHId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rU012K8uNN2Z9NH56.d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8AAgKQImJumSd2q7gGlg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D885B451-1E1C-7049-BD4A-EF79A8BC38B4}tf16401369</Template>
  <TotalTime>7436</TotalTime>
  <Words>216</Words>
  <Application>Microsoft Macintosh PowerPoint</Application>
  <PresentationFormat>Panorámica</PresentationFormat>
  <Paragraphs>28</Paragraphs>
  <Slides>7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EF Circular Black</vt:lpstr>
      <vt:lpstr>EF Circular Bold</vt:lpstr>
      <vt:lpstr>EF Circular Book</vt:lpstr>
      <vt:lpstr>EF Circular Light</vt:lpstr>
      <vt:lpstr>Helvetica</vt:lpstr>
      <vt:lpstr>Office Theme</vt:lpstr>
      <vt:lpstr>EF GLOBAL INTERN</vt:lpstr>
      <vt:lpstr>¿Qué es EF Global Intern? </vt:lpstr>
      <vt:lpstr>¿Cómo crees que el aprendizaje de idiomas puede ayudar a crear un mundo mejor?  </vt:lpstr>
      <vt:lpstr>Presentación de PowerPoint</vt:lpstr>
      <vt:lpstr>¿Qué incluye el premio?  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am Olszewski</dc:creator>
  <cp:lastModifiedBy>Diego Bautista</cp:lastModifiedBy>
  <cp:revision>496</cp:revision>
  <cp:lastPrinted>2020-01-10T13:23:05Z</cp:lastPrinted>
  <dcterms:created xsi:type="dcterms:W3CDTF">2019-07-04T12:01:41Z</dcterms:created>
  <dcterms:modified xsi:type="dcterms:W3CDTF">2024-05-03T14:57:40Z</dcterms:modified>
</cp:coreProperties>
</file>